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72" r:id="rId2"/>
    <p:sldId id="269" r:id="rId3"/>
    <p:sldId id="270" r:id="rId4"/>
    <p:sldId id="271" r:id="rId5"/>
    <p:sldId id="264" r:id="rId6"/>
    <p:sldId id="268" r:id="rId7"/>
    <p:sldId id="295" r:id="rId8"/>
    <p:sldId id="266" r:id="rId9"/>
    <p:sldId id="296" r:id="rId10"/>
    <p:sldId id="279" r:id="rId11"/>
    <p:sldId id="280" r:id="rId12"/>
    <p:sldId id="283" r:id="rId13"/>
    <p:sldId id="285" r:id="rId14"/>
    <p:sldId id="289" r:id="rId15"/>
    <p:sldId id="290" r:id="rId16"/>
    <p:sldId id="291" r:id="rId17"/>
    <p:sldId id="288" r:id="rId18"/>
    <p:sldId id="292" r:id="rId19"/>
    <p:sldId id="282" r:id="rId20"/>
    <p:sldId id="277" r:id="rId21"/>
    <p:sldId id="278" r:id="rId22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EBF1DE"/>
    <a:srgbClr val="DCE6F2"/>
    <a:srgbClr val="EEECE1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34" autoAdjust="0"/>
    <p:restoredTop sz="96429" autoAdjust="0"/>
  </p:normalViewPr>
  <p:slideViewPr>
    <p:cSldViewPr showGuides="1">
      <p:cViewPr varScale="1">
        <p:scale>
          <a:sx n="85" d="100"/>
          <a:sy n="85" d="100"/>
        </p:scale>
        <p:origin x="1824" y="7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DBE135-741F-4042-BEF7-30E2E02748A3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8D744D-A5B8-43BB-8367-5BF48FA0487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5243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D744D-A5B8-43BB-8367-5BF48FA04870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39080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71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24263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0913"/>
            <a:fld id="{6D9ED8BC-CB6B-470B-B8CF-354B448C7917}" type="slidenum">
              <a:rPr lang="ko-KR" altLang="en-US" smtClean="0"/>
              <a:pPr defTabSz="950913"/>
              <a:t>20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8567509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0913"/>
            <a:fld id="{6D9ED8BC-CB6B-470B-B8CF-354B448C7917}" type="slidenum">
              <a:rPr lang="ko-KR" altLang="en-US" smtClean="0">
                <a:solidFill>
                  <a:prstClr val="black"/>
                </a:solidFill>
              </a:rPr>
              <a:pPr defTabSz="950913"/>
              <a:t>21</a:t>
            </a:fld>
            <a:endParaRPr lang="en-US" altLang="ko-KR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869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23609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38323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114598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773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335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9769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9483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69CF58-823B-44AF-8A02-AD3926E99B51}" type="slidenum">
              <a:rPr kumimoji="0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64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3247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1487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570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185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0917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1865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8227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2848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915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9201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7154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83E4CC-EC0C-48EF-AC00-55BB449506BF}" type="datetimeFigureOut">
              <a:rPr lang="ko-KR" altLang="en-US" smtClean="0"/>
              <a:t>2021-12-2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B11BDD-7284-48FD-9E2B-956C961731D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87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90570" rtl="0" eaLnBrk="1" latinLnBrk="1" hangingPunct="1">
        <a:spcBef>
          <a:spcPct val="0"/>
        </a:spcBef>
        <a:buNone/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464" indent="-371464" algn="l" defTabSz="990570" rtl="0" eaLnBrk="1" latinLnBrk="1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1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1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1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1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1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1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1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1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1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02446" y="2924944"/>
            <a:ext cx="46676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7200" b="1" u="sng" smtClean="0"/>
              <a:t>HR Profile</a:t>
            </a:r>
            <a:endParaRPr lang="ko-KR" altLang="en-US" sz="7200" b="1" u="sng"/>
          </a:p>
        </p:txBody>
      </p:sp>
    </p:spTree>
    <p:extLst>
      <p:ext uri="{BB962C8B-B14F-4D97-AF65-F5344CB8AC3E}">
        <p14:creationId xmlns:p14="http://schemas.microsoft.com/office/powerpoint/2010/main" val="363931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1016" y="1873211"/>
            <a:ext cx="7212445" cy="474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가동률 및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품질의 향상</a:t>
            </a:r>
            <a:endParaRPr lang="en-US" altLang="ko-KR" sz="12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fontAlgn="t">
              <a:buNone/>
              <a:defRPr/>
            </a:pP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- Gear / Bearing</a:t>
            </a: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등 의 조립 불량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노화를 진단 및 예지하여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의 이물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  <a:r>
              <a:rPr lang="ko-KR" altLang="en-US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주행 불안정 등의 생산 차질 요소를 사전 차단 </a:t>
            </a:r>
            <a:endParaRPr lang="en-US" altLang="ko-KR" sz="12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8" name="Rectangle 25"/>
          <p:cNvSpPr>
            <a:spLocks noChangeArrowheads="1"/>
          </p:cNvSpPr>
          <p:nvPr/>
        </p:nvSpPr>
        <p:spPr bwMode="auto">
          <a:xfrm>
            <a:off x="196774" y="608491"/>
            <a:ext cx="820241" cy="40121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개요 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auto">
          <a:xfrm>
            <a:off x="194325" y="1145779"/>
            <a:ext cx="820241" cy="58267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Pain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Point</a:t>
            </a:r>
          </a:p>
        </p:txBody>
      </p:sp>
      <p:sp>
        <p:nvSpPr>
          <p:cNvPr id="83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1015" y="1075973"/>
            <a:ext cx="6356066" cy="659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양산 시 진공 챔버 내 부품손상 및 조립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iss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등 상태 확인 불가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PM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주기 등 특정 시기에만 확인 가능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en-US" altLang="ko-KR" sz="1200" b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</a:t>
            </a:r>
          </a:p>
          <a:p>
            <a:pPr marL="90488" indent="-90488" fontAlgn="t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상 발생 인지 후 작업중지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→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대량 불량 및 수율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Loss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발생 </a:t>
            </a: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7" name="Rectangle 23"/>
          <p:cNvSpPr>
            <a:spLocks noChangeArrowheads="1"/>
          </p:cNvSpPr>
          <p:nvPr/>
        </p:nvSpPr>
        <p:spPr bwMode="auto">
          <a:xfrm>
            <a:off x="1434018" y="3033239"/>
            <a:ext cx="1145896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Data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수집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전처리기 개발</a:t>
            </a:r>
            <a:endParaRPr lang="ko-KR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88" name="Rectangle 23"/>
          <p:cNvSpPr>
            <a:spLocks noChangeArrowheads="1"/>
          </p:cNvSpPr>
          <p:nvPr/>
        </p:nvSpPr>
        <p:spPr bwMode="auto">
          <a:xfrm>
            <a:off x="2853032" y="3033239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장비 연동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Interface 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구축</a:t>
            </a:r>
            <a:endParaRPr lang="ko-KR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3" name="Rectangle 23"/>
          <p:cNvSpPr>
            <a:spLocks noChangeArrowheads="1"/>
          </p:cNvSpPr>
          <p:nvPr/>
        </p:nvSpPr>
        <p:spPr bwMode="auto">
          <a:xfrm>
            <a:off x="4399979" y="3033239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진단</a:t>
            </a: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/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예지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ML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모델 구축</a:t>
            </a:r>
            <a:endParaRPr lang="ko-KR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4" name="Rectangle 23"/>
          <p:cNvSpPr>
            <a:spLocks noChangeArrowheads="1"/>
          </p:cNvSpPr>
          <p:nvPr/>
        </p:nvSpPr>
        <p:spPr bwMode="auto">
          <a:xfrm>
            <a:off x="5849873" y="3032951"/>
            <a:ext cx="139263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상태 감시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Alarm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</a:t>
            </a: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System 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구축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5" name="Rectangle 23"/>
          <p:cNvSpPr>
            <a:spLocks noChangeArrowheads="1"/>
          </p:cNvSpPr>
          <p:nvPr/>
        </p:nvSpPr>
        <p:spPr bwMode="auto">
          <a:xfrm>
            <a:off x="7567848" y="3032951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Model </a:t>
            </a: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적용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설비 확대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7" name="오른쪽 화살표 96"/>
          <p:cNvSpPr/>
          <p:nvPr/>
        </p:nvSpPr>
        <p:spPr>
          <a:xfrm>
            <a:off x="1434018" y="3199402"/>
            <a:ext cx="7505540" cy="14861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923" b="1" dirty="0">
              <a:solidFill>
                <a:srgbClr val="FF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8" name="모서리가 둥근 직사각형 97"/>
          <p:cNvSpPr/>
          <p:nvPr/>
        </p:nvSpPr>
        <p:spPr>
          <a:xfrm>
            <a:off x="1331796" y="2966770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99" name="모서리가 둥근 직사각형 98"/>
          <p:cNvSpPr/>
          <p:nvPr/>
        </p:nvSpPr>
        <p:spPr>
          <a:xfrm>
            <a:off x="2794112" y="2979125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  <a:endParaRPr kumimoji="1" lang="ko-KR" altLang="en-US" sz="800" b="1" dirty="0">
              <a:solidFill>
                <a:prstClr val="white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2152563" y="2859614"/>
            <a:ext cx="5675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ko-KR" sz="800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‘20.11/20</a:t>
            </a:r>
          </a:p>
        </p:txBody>
      </p:sp>
      <p:sp>
        <p:nvSpPr>
          <p:cNvPr id="103" name="직사각형 102"/>
          <p:cNvSpPr/>
          <p:nvPr/>
        </p:nvSpPr>
        <p:spPr>
          <a:xfrm>
            <a:off x="3584190" y="2859614"/>
            <a:ext cx="56753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ko-KR" sz="800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‘21.1/10</a:t>
            </a:r>
          </a:p>
        </p:txBody>
      </p:sp>
      <p:sp>
        <p:nvSpPr>
          <p:cNvPr id="104" name="직사각형 103"/>
          <p:cNvSpPr/>
          <p:nvPr/>
        </p:nvSpPr>
        <p:spPr>
          <a:xfrm>
            <a:off x="4907347" y="2859614"/>
            <a:ext cx="72065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ko-KR" sz="800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‘~21.06/15</a:t>
            </a:r>
          </a:p>
        </p:txBody>
      </p:sp>
      <p:sp>
        <p:nvSpPr>
          <p:cNvPr id="105" name="직사각형 104"/>
          <p:cNvSpPr/>
          <p:nvPr/>
        </p:nvSpPr>
        <p:spPr>
          <a:xfrm>
            <a:off x="6621596" y="2859326"/>
            <a:ext cx="5675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ko-KR" sz="800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‘~21.7/31</a:t>
            </a:r>
          </a:p>
        </p:txBody>
      </p:sp>
      <p:sp>
        <p:nvSpPr>
          <p:cNvPr id="106" name="직사각형 105"/>
          <p:cNvSpPr/>
          <p:nvPr/>
        </p:nvSpPr>
        <p:spPr>
          <a:xfrm>
            <a:off x="8184371" y="2867046"/>
            <a:ext cx="63862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ko-KR" sz="800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‘~21.9/30</a:t>
            </a:r>
          </a:p>
        </p:txBody>
      </p:sp>
      <p:grpSp>
        <p:nvGrpSpPr>
          <p:cNvPr id="30" name="그룹 29"/>
          <p:cNvGrpSpPr/>
          <p:nvPr/>
        </p:nvGrpSpPr>
        <p:grpSpPr>
          <a:xfrm>
            <a:off x="2779002" y="1870053"/>
            <a:ext cx="1576071" cy="237607"/>
            <a:chOff x="7162337" y="2600204"/>
            <a:chExt cx="1576071" cy="237607"/>
          </a:xfrm>
        </p:grpSpPr>
        <p:sp>
          <p:nvSpPr>
            <p:cNvPr id="56" name="Text Box 125">
              <a:hlinkClick r:id="" action="ppaction://noaction"/>
            </p:cNvPr>
            <p:cNvSpPr txBox="1">
              <a:spLocks noChangeArrowheads="1"/>
            </p:cNvSpPr>
            <p:nvPr/>
          </p:nvSpPr>
          <p:spPr bwMode="auto">
            <a:xfrm>
              <a:off x="7484456" y="2600204"/>
              <a:ext cx="1253952" cy="237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3231" tIns="33231" rIns="33231" bIns="33231">
              <a:spAutoFit/>
            </a:bodyPr>
            <a:lstStyle>
              <a:defPPr>
                <a:defRPr lang="ko-KR"/>
              </a:defPPr>
              <a:lvl1pPr marL="0" marR="0" lvl="0" indent="0" defTabSz="958850" eaLnBrk="1" latinLnBrk="1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q"/>
                <a:tabLst/>
                <a:defRPr kumimoji="1" sz="1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defRPr>
              </a:lvl1pPr>
            </a:lstStyle>
            <a:p>
              <a:pPr fontAlgn="t">
                <a:buNone/>
                <a:defRPr/>
              </a:pPr>
              <a:r>
                <a:rPr lang="en-US" altLang="ko-KR" sz="11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LG스마트체 Regular" panose="020B0600000101010101" pitchFamily="50" charset="-127"/>
                </a:rPr>
                <a:t>PHM</a:t>
              </a:r>
            </a:p>
          </p:txBody>
        </p:sp>
        <p:sp>
          <p:nvSpPr>
            <p:cNvPr id="60" name="모서리가 둥근 직사각형 59"/>
            <p:cNvSpPr/>
            <p:nvPr/>
          </p:nvSpPr>
          <p:spPr>
            <a:xfrm>
              <a:off x="7162337" y="2643753"/>
              <a:ext cx="324795" cy="16645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323" tIns="3323" rIns="3323" bIns="3323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800" b="1" dirty="0">
                  <a:solidFill>
                    <a:schemeClr val="bg1"/>
                  </a:solidFill>
                  <a:latin typeface="+mj-lt"/>
                  <a:ea typeface="LG스마트체 Regular" panose="020B0600000101010101" pitchFamily="50" charset="-127"/>
                </a:rPr>
                <a:t>Goal</a:t>
              </a:r>
              <a:endParaRPr kumimoji="1" lang="ko-KR" altLang="en-US" sz="800" b="1" dirty="0">
                <a:solidFill>
                  <a:schemeClr val="bg1"/>
                </a:solidFill>
                <a:latin typeface="+mj-lt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66" name="Rectangle 25"/>
          <p:cNvSpPr>
            <a:spLocks noChangeArrowheads="1"/>
          </p:cNvSpPr>
          <p:nvPr/>
        </p:nvSpPr>
        <p:spPr bwMode="auto">
          <a:xfrm>
            <a:off x="194324" y="1858919"/>
            <a:ext cx="820241" cy="69494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차별화 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목표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67" name="Rectangle 25"/>
          <p:cNvSpPr>
            <a:spLocks noChangeArrowheads="1"/>
          </p:cNvSpPr>
          <p:nvPr/>
        </p:nvSpPr>
        <p:spPr bwMode="auto">
          <a:xfrm>
            <a:off x="194324" y="2684336"/>
            <a:ext cx="820241" cy="107096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Road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Map</a:t>
            </a:r>
          </a:p>
        </p:txBody>
      </p:sp>
      <p:sp>
        <p:nvSpPr>
          <p:cNvPr id="69" name="Rectangle 25"/>
          <p:cNvSpPr>
            <a:spLocks noChangeArrowheads="1"/>
          </p:cNvSpPr>
          <p:nvPr/>
        </p:nvSpPr>
        <p:spPr bwMode="auto">
          <a:xfrm>
            <a:off x="194324" y="3885768"/>
            <a:ext cx="820241" cy="1822189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접근법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0" latinLnBrk="0" hangingPunct="0">
              <a:defRPr/>
            </a:pP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및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0" latinLnBrk="0" hangingPunct="0">
              <a:defRPr/>
            </a:pP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성과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70" name="Rectangle 25"/>
          <p:cNvSpPr>
            <a:spLocks noChangeArrowheads="1"/>
          </p:cNvSpPr>
          <p:nvPr/>
        </p:nvSpPr>
        <p:spPr bwMode="auto">
          <a:xfrm>
            <a:off x="194323" y="5844477"/>
            <a:ext cx="820241" cy="776879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결론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71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1015" y="5997126"/>
            <a:ext cx="7917099" cy="536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fontAlgn="base">
              <a:buFont typeface="Wingdings" pitchFamily="2" charset="2"/>
              <a:buNone/>
              <a:defRPr/>
            </a:pP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특정 부품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Bevel Gear)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의 고장 정도에 대해 정확도 높은 진단을 내릴 수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</a:rPr>
              <a:t>있는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확보함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 fontAlgn="base">
              <a:buNone/>
              <a:defRPr/>
            </a:pP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</a:rPr>
              <a:t>실제 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현장에서 예상되는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Imbalanced</a:t>
            </a:r>
            <a:r>
              <a:rPr lang="ko-KR" altLang="en-US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상황에서 성능을 끌어올릴 수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</a:rPr>
              <a:t>있는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olution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</a:rPr>
              <a:t> 확보함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7" name="직사각형 116"/>
          <p:cNvSpPr>
            <a:spLocks noChangeArrowheads="1"/>
          </p:cNvSpPr>
          <p:nvPr/>
        </p:nvSpPr>
        <p:spPr bwMode="auto">
          <a:xfrm>
            <a:off x="1488085" y="3856713"/>
            <a:ext cx="1087798" cy="30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3200" rIns="0" bIns="43200">
            <a:spAutoFit/>
          </a:bodyPr>
          <a:lstStyle>
            <a:defPPr>
              <a:defRPr lang="ko-KR"/>
            </a:defPPr>
            <a:lvl1pPr marL="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3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8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22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67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11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5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994" indent="-84994" defTabSz="631474">
              <a:spcBef>
                <a:spcPts val="92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 </a:t>
            </a:r>
            <a:r>
              <a:rPr lang="en-US" altLang="ko-KR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Classification</a:t>
            </a:r>
            <a:endParaRPr lang="ko-KR" altLang="en-US" sz="1400" b="1" dirty="0">
              <a:solidFill>
                <a:prstClr val="black"/>
              </a:solidFill>
              <a:latin typeface="Arial Narrow"/>
              <a:ea typeface="LG스마트체2.0 Regular"/>
              <a:sym typeface="Wingdings 2" pitchFamily="18" charset="2"/>
            </a:endParaRPr>
          </a:p>
        </p:txBody>
      </p:sp>
      <p:sp>
        <p:nvSpPr>
          <p:cNvPr id="136" name="직사각형 135"/>
          <p:cNvSpPr>
            <a:spLocks noChangeArrowheads="1"/>
          </p:cNvSpPr>
          <p:nvPr/>
        </p:nvSpPr>
        <p:spPr bwMode="auto">
          <a:xfrm>
            <a:off x="3542038" y="3852473"/>
            <a:ext cx="929100" cy="30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3200" rIns="0" bIns="43200">
            <a:spAutoFit/>
          </a:bodyPr>
          <a:lstStyle>
            <a:defPPr>
              <a:defRPr lang="ko-KR"/>
            </a:defPPr>
            <a:lvl1pPr marL="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3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8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22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67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11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5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994" indent="-84994" defTabSz="631474">
              <a:spcBef>
                <a:spcPts val="92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 </a:t>
            </a:r>
            <a:r>
              <a:rPr lang="en-US" altLang="ko-KR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Regression</a:t>
            </a:r>
            <a:endParaRPr lang="ko-KR" altLang="en-US" sz="1400" b="1" dirty="0">
              <a:solidFill>
                <a:prstClr val="black"/>
              </a:solidFill>
              <a:latin typeface="Arial Narrow"/>
              <a:ea typeface="LG스마트체2.0 Regular"/>
              <a:sym typeface="Wingdings 2" pitchFamily="18" charset="2"/>
            </a:endParaRPr>
          </a:p>
        </p:txBody>
      </p:sp>
      <p:sp>
        <p:nvSpPr>
          <p:cNvPr id="137" name="직사각형 136"/>
          <p:cNvSpPr>
            <a:spLocks noChangeArrowheads="1"/>
          </p:cNvSpPr>
          <p:nvPr/>
        </p:nvSpPr>
        <p:spPr bwMode="auto">
          <a:xfrm>
            <a:off x="5437294" y="3862964"/>
            <a:ext cx="1341073" cy="30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3200" rIns="0" bIns="43200">
            <a:spAutoFit/>
          </a:bodyPr>
          <a:lstStyle>
            <a:defPPr>
              <a:defRPr lang="ko-KR"/>
            </a:defPPr>
            <a:lvl1pPr marL="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3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8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22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67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11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5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994" indent="-84994" defTabSz="631474">
              <a:spcBef>
                <a:spcPts val="92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 </a:t>
            </a:r>
            <a:r>
              <a:rPr lang="en-US" altLang="ko-KR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Imbalanced Data</a:t>
            </a:r>
            <a:endParaRPr lang="ko-KR" altLang="en-US" sz="1400" b="1" dirty="0">
              <a:solidFill>
                <a:prstClr val="black"/>
              </a:solidFill>
              <a:latin typeface="Arial Narrow"/>
              <a:ea typeface="LG스마트체2.0 Regular"/>
              <a:sym typeface="Wingdings 2" pitchFamily="18" charset="2"/>
            </a:endParaRPr>
          </a:p>
        </p:txBody>
      </p:sp>
      <p:sp>
        <p:nvSpPr>
          <p:cNvPr id="138" name="직사각형 137"/>
          <p:cNvSpPr>
            <a:spLocks noChangeArrowheads="1"/>
          </p:cNvSpPr>
          <p:nvPr/>
        </p:nvSpPr>
        <p:spPr bwMode="auto">
          <a:xfrm>
            <a:off x="7744523" y="3868772"/>
            <a:ext cx="1317027" cy="30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3200" rIns="0" bIns="43200">
            <a:spAutoFit/>
          </a:bodyPr>
          <a:lstStyle>
            <a:defPPr>
              <a:defRPr lang="ko-KR"/>
            </a:defPPr>
            <a:lvl1pPr marL="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0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3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8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22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67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11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55" algn="l" defTabSz="914290" rtl="0" eaLnBrk="1" latinLnBrk="1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994" indent="-84994" defTabSz="631474">
              <a:spcBef>
                <a:spcPts val="92"/>
              </a:spcBef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 </a:t>
            </a:r>
            <a:r>
              <a:rPr lang="en-US" altLang="ko-KR" sz="1400" b="1" dirty="0">
                <a:solidFill>
                  <a:prstClr val="black"/>
                </a:solidFill>
                <a:latin typeface="Arial Narrow"/>
                <a:ea typeface="LG스마트체2.0 Regular"/>
                <a:sym typeface="Wingdings 2" pitchFamily="18" charset="2"/>
              </a:rPr>
              <a:t>Outlier Detection</a:t>
            </a:r>
            <a:endParaRPr lang="ko-KR" altLang="en-US" sz="1400" b="1" dirty="0">
              <a:solidFill>
                <a:prstClr val="black"/>
              </a:solidFill>
              <a:latin typeface="Arial Narrow"/>
              <a:ea typeface="LG스마트체2.0 Regular"/>
              <a:sym typeface="Wingdings 2" pitchFamily="18" charset="2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2086389" y="4296706"/>
            <a:ext cx="730879" cy="73087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Hard</a:t>
            </a:r>
          </a:p>
          <a:p>
            <a:pPr algn="ctr"/>
            <a:r>
              <a:rPr lang="en-US" altLang="ko-KR" sz="1000" b="1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Defect</a:t>
            </a:r>
            <a:endParaRPr lang="ko-KR" altLang="en-US" sz="1000" b="1" dirty="0">
              <a:solidFill>
                <a:srgbClr val="FF0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39" name="타원 138"/>
          <p:cNvSpPr/>
          <p:nvPr/>
        </p:nvSpPr>
        <p:spPr>
          <a:xfrm>
            <a:off x="1258199" y="4307511"/>
            <a:ext cx="769500" cy="7695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rPr>
              <a:t>Normal</a:t>
            </a:r>
            <a:endParaRPr lang="ko-KR" altLang="en-US" sz="1000" b="1" dirty="0">
              <a:solidFill>
                <a:schemeClr val="tx1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40" name="타원 139"/>
          <p:cNvSpPr/>
          <p:nvPr/>
        </p:nvSpPr>
        <p:spPr>
          <a:xfrm>
            <a:off x="1708462" y="4977078"/>
            <a:ext cx="730879" cy="73087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1" dirty="0">
                <a:solidFill>
                  <a:srgbClr val="006600"/>
                </a:solidFill>
                <a:latin typeface="Arial Narrow" panose="020B0606020202030204" pitchFamily="34" charset="0"/>
                <a:ea typeface="LG스마트체 Regular" pitchFamily="50" charset="-127"/>
              </a:rPr>
              <a:t>Soft</a:t>
            </a:r>
          </a:p>
          <a:p>
            <a:pPr algn="ctr"/>
            <a:r>
              <a:rPr lang="en-US" altLang="ko-KR" sz="1000" b="1" dirty="0">
                <a:solidFill>
                  <a:srgbClr val="006600"/>
                </a:solidFill>
                <a:latin typeface="Arial Narrow" panose="020B0606020202030204" pitchFamily="34" charset="0"/>
                <a:ea typeface="LG스마트체 Regular" pitchFamily="50" charset="-127"/>
              </a:rPr>
              <a:t>Defect</a:t>
            </a:r>
            <a:endParaRPr lang="ko-KR" altLang="en-US" sz="1000" b="1" dirty="0">
              <a:solidFill>
                <a:srgbClr val="0066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81097" y="4090444"/>
            <a:ext cx="14670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Predict 99% </a:t>
            </a:r>
            <a:r>
              <a:rPr lang="en-US" altLang="ko-KR" sz="2400" b="1" dirty="0">
                <a:solidFill>
                  <a:srgbClr val="0000FF"/>
                </a:solidFill>
                <a:latin typeface="Arial Narrow" panose="020B0606020202030204" pitchFamily="34" charset="0"/>
                <a:ea typeface="바탕" panose="02030600000101010101" pitchFamily="18" charset="-127"/>
              </a:rPr>
              <a:t>↑</a:t>
            </a:r>
            <a:endParaRPr lang="ko-KR" altLang="en-US" sz="2400" b="1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4492" y="4342490"/>
            <a:ext cx="1288247" cy="1178717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3370040" y="5370645"/>
            <a:ext cx="15371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latin typeface="Arial Narrow" panose="020B0606020202030204" pitchFamily="34" charset="0"/>
                <a:ea typeface="LG스마트체 Regular" pitchFamily="50" charset="-127"/>
              </a:rPr>
              <a:t>Defect Degree</a:t>
            </a:r>
            <a:endParaRPr lang="ko-KR" altLang="en-US" sz="1200" b="1" dirty="0"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cxnSp>
        <p:nvCxnSpPr>
          <p:cNvPr id="13" name="직선 화살표 연결선 12"/>
          <p:cNvCxnSpPr/>
          <p:nvPr/>
        </p:nvCxnSpPr>
        <p:spPr>
          <a:xfrm>
            <a:off x="3780360" y="5363773"/>
            <a:ext cx="82906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3415827" y="4151007"/>
            <a:ext cx="14670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Predict 98% </a:t>
            </a:r>
            <a:r>
              <a:rPr lang="en-US" altLang="ko-KR" sz="2400" b="1" dirty="0">
                <a:solidFill>
                  <a:srgbClr val="0000FF"/>
                </a:solidFill>
                <a:latin typeface="Arial Narrow" panose="020B0606020202030204" pitchFamily="34" charset="0"/>
                <a:ea typeface="바탕" panose="02030600000101010101" pitchFamily="18" charset="-127"/>
              </a:rPr>
              <a:t>↑</a:t>
            </a:r>
            <a:endParaRPr lang="ko-KR" altLang="en-US" sz="2400" b="1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5">
            <a:biLevel thresh="75000"/>
          </a:blip>
          <a:stretch>
            <a:fillRect/>
          </a:stretch>
        </p:blipFill>
        <p:spPr>
          <a:xfrm rot="2027802">
            <a:off x="5430916" y="4283200"/>
            <a:ext cx="1744044" cy="1121171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5204981" y="4287429"/>
            <a:ext cx="7633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b="1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itchFamily="50" charset="-127"/>
              </a:rPr>
              <a:t>Defect</a:t>
            </a:r>
            <a:endParaRPr lang="ko-KR" altLang="en-US" b="1" dirty="0">
              <a:solidFill>
                <a:srgbClr val="FF0000"/>
              </a:solidFill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515708" y="4290029"/>
            <a:ext cx="8370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b="1" dirty="0">
                <a:latin typeface="Arial Narrow" panose="020B0606020202030204" pitchFamily="34" charset="0"/>
                <a:ea typeface="LG스마트체 Regular" pitchFamily="50" charset="-127"/>
              </a:rPr>
              <a:t>Normal</a:t>
            </a:r>
            <a:endParaRPr lang="ko-KR" altLang="en-US" b="1" dirty="0"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48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1016" y="2351202"/>
            <a:ext cx="3034065" cy="25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태 기반 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응용을 통한 관리 </a:t>
            </a:r>
            <a:r>
              <a:rPr lang="en-US" altLang="ko-KR" sz="1200" b="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</a:t>
            </a:r>
            <a:r>
              <a:rPr lang="en-US" altLang="ko-KR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축</a:t>
            </a:r>
            <a:endParaRPr lang="en-US" altLang="ko-KR" sz="12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9" name="Rectangle 17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18754" y="696438"/>
            <a:ext cx="746473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620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sz="16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장비 관리 효율화</a:t>
            </a:r>
            <a:r>
              <a:rPr lang="en-US" altLang="ko-KR" sz="16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ko-KR" altLang="en-US" sz="16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및 가동률 향상을 위한 증착 라인 반송 구동부 고장 </a:t>
            </a:r>
            <a:r>
              <a:rPr lang="ko-KR" altLang="en-US" sz="16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예지 </a:t>
            </a:r>
            <a:r>
              <a:rPr lang="ko-KR" altLang="en-US" sz="16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시스템 </a:t>
            </a:r>
            <a:r>
              <a:rPr lang="en-US" altLang="ko-KR" sz="16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– 4</a:t>
            </a:r>
            <a:r>
              <a:rPr lang="ko-KR" altLang="en-US" sz="16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가지 접근</a:t>
            </a:r>
            <a:endParaRPr lang="ko-KR" altLang="en-US" sz="1600" b="1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7813563" y="4132716"/>
            <a:ext cx="1571565" cy="1342494"/>
            <a:chOff x="7660818" y="4203118"/>
            <a:chExt cx="1571565" cy="1342494"/>
          </a:xfrm>
        </p:grpSpPr>
        <p:sp>
          <p:nvSpPr>
            <p:cNvPr id="142" name="타원 141"/>
            <p:cNvSpPr/>
            <p:nvPr/>
          </p:nvSpPr>
          <p:spPr>
            <a:xfrm>
              <a:off x="7696435" y="4478934"/>
              <a:ext cx="934306" cy="93430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200" b="1" dirty="0">
                  <a:solidFill>
                    <a:schemeClr val="tx1"/>
                  </a:solidFill>
                  <a:latin typeface="Arial Narrow" panose="020B0606020202030204" pitchFamily="34" charset="0"/>
                  <a:ea typeface="LG스마트체 Regular" pitchFamily="50" charset="-127"/>
                </a:rPr>
                <a:t>Normal</a:t>
              </a:r>
              <a:endParaRPr lang="ko-KR" altLang="en-US" sz="1200" b="1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itchFamily="50" charset="-127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484546" y="4203118"/>
              <a:ext cx="61747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3200" dirty="0">
                  <a:solidFill>
                    <a:srgbClr val="FF0000"/>
                  </a:solidFill>
                </a:rPr>
                <a:t> </a:t>
              </a:r>
              <a:endParaRPr lang="ko-KR" altLang="en-US" sz="3200" dirty="0">
                <a:solidFill>
                  <a:srgbClr val="FF0000"/>
                </a:solidFill>
              </a:endParaRPr>
            </a:p>
          </p:txBody>
        </p:sp>
        <p:sp>
          <p:nvSpPr>
            <p:cNvPr id="26" name="타원 25"/>
            <p:cNvSpPr/>
            <p:nvPr/>
          </p:nvSpPr>
          <p:spPr>
            <a:xfrm>
              <a:off x="8458091" y="4318437"/>
              <a:ext cx="390782" cy="390782"/>
            </a:xfrm>
            <a:prstGeom prst="ellipse">
              <a:avLst/>
            </a:prstGeom>
            <a:noFill/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dirty="0">
                <a:solidFill>
                  <a:srgbClr val="FF0000"/>
                </a:solidFill>
                <a:latin typeface="LG스마트체 Regular" pitchFamily="50" charset="-127"/>
                <a:ea typeface="LG스마트체 Regular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8695056" y="4402709"/>
              <a:ext cx="53732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1100" b="1" dirty="0">
                  <a:solidFill>
                    <a:srgbClr val="FF0000"/>
                  </a:solidFill>
                  <a:latin typeface="Arial Narrow" panose="020B0606020202030204" pitchFamily="34" charset="0"/>
                  <a:ea typeface="LG스마트체 Regular" pitchFamily="50" charset="-127"/>
                </a:rPr>
                <a:t>Defect</a:t>
              </a:r>
              <a:endParaRPr lang="ko-KR" altLang="en-US" sz="1100" b="1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itchFamily="50" charset="-127"/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7879594" y="4521711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8080543" y="4531454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7961793" y="4923193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8142185" y="4911351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8022708" y="4359097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8296137" y="4447367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8441070" y="4711819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7660818" y="4702171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7775103" y="4426383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8289232" y="4617530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7792662" y="4940599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8062510" y="5083947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8335482" y="4874885"/>
              <a:ext cx="58221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ko-KR" sz="2400" dirty="0">
                  <a:solidFill>
                    <a:srgbClr val="0000FF"/>
                  </a:solidFill>
                </a:rPr>
                <a:t> </a:t>
              </a:r>
              <a:endParaRPr lang="ko-KR" altLang="en-US" sz="2400" dirty="0">
                <a:solidFill>
                  <a:srgbClr val="0000FF"/>
                </a:solidFill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5534590" y="4208477"/>
            <a:ext cx="15311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b="1" dirty="0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LG스마트체 Regular" panose="020B0600000101010101" pitchFamily="50" charset="-127"/>
              </a:rPr>
              <a:t>Solution </a:t>
            </a:r>
            <a:r>
              <a:rPr lang="ko-KR" altLang="en-US" sz="2000" b="1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LG스마트체 Regular" panose="020B0600000101010101" pitchFamily="50" charset="-127"/>
              </a:rPr>
              <a:t>확보</a:t>
            </a:r>
            <a:endParaRPr lang="ko-KR" altLang="en-US" sz="2000" b="1" dirty="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4285304" y="2974768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78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1. </a:t>
            </a:r>
            <a:r>
              <a:rPr lang="ko-KR" altLang="en-US" sz="2000" smtClean="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설비 </a:t>
            </a:r>
            <a:r>
              <a:rPr lang="ko-KR" altLang="en-US" sz="200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반송 구동부 고장 진단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System</a:t>
            </a:r>
            <a:endParaRPr lang="ko-KR" altLang="en-US" sz="2000">
              <a:solidFill>
                <a:schemeClr val="bg1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79" name="모서리가 둥근 직사각형 78"/>
          <p:cNvSpPr/>
          <p:nvPr/>
        </p:nvSpPr>
        <p:spPr>
          <a:xfrm>
            <a:off x="5837479" y="2964248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81" name="모서리가 둥근 직사각형 80"/>
          <p:cNvSpPr/>
          <p:nvPr/>
        </p:nvSpPr>
        <p:spPr>
          <a:xfrm>
            <a:off x="7514465" y="2960678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896750" y="4163968"/>
            <a:ext cx="1226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속 연구 필요</a:t>
            </a:r>
            <a:endParaRPr lang="ko-KR" altLang="en-US" sz="1400" b="1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6383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/>
        </p:nvSpPr>
        <p:spPr>
          <a:xfrm>
            <a:off x="3999154" y="1993506"/>
            <a:ext cx="6832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gative</a:t>
            </a:r>
            <a:endParaRPr lang="ko-KR" altLang="en-US" sz="120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836929" y="3191973"/>
            <a:ext cx="6832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gative</a:t>
            </a:r>
            <a:endParaRPr lang="ko-KR" altLang="en-US" sz="120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2932" y="1160308"/>
            <a:ext cx="8973365" cy="58926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263776" indent="-263776" defTabSz="844083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tabLst>
                <a:tab pos="3477445" algn="l"/>
              </a:tabLst>
            </a:pP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Classification &amp; Regression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의 주요 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Model 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모두 높은 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Test Accuracy(99% 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이상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)</a:t>
            </a:r>
            <a:r>
              <a:rPr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를 확보하였으며</a:t>
            </a:r>
            <a:r>
              <a:rPr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, </a:t>
            </a:r>
          </a:p>
          <a:p>
            <a:pPr defTabSz="844083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477445" algn="l"/>
              </a:tabLst>
            </a:pPr>
            <a:r>
              <a:rPr lang="en-US" altLang="ko-KR" sz="140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      Confusion Matrix</a:t>
            </a:r>
            <a:r>
              <a:rPr lang="ko-KR" altLang="en-US" sz="140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분석 시 높은 </a:t>
            </a:r>
            <a:r>
              <a:rPr lang="en-US" altLang="ko-KR" sz="1400" baseline="3000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*</a:t>
            </a:r>
            <a:r>
              <a:rPr lang="ko-KR" altLang="en-US" sz="140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정밀도와 </a:t>
            </a:r>
            <a:r>
              <a:rPr lang="en-US" altLang="ko-KR" sz="1400" baseline="3000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*</a:t>
            </a:r>
            <a:r>
              <a:rPr lang="ko-KR" altLang="en-US" sz="140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민감도를 가지므로 신뢰도 높은 </a:t>
            </a:r>
            <a:r>
              <a:rPr lang="en-US" altLang="ko-KR" sz="140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Model</a:t>
            </a:r>
            <a:r>
              <a:rPr lang="ko-KR" altLang="en-US" sz="140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로서 실제 현장에 적용가능함을 확인함</a:t>
            </a:r>
            <a:r>
              <a:rPr lang="en-US" altLang="ko-KR" sz="1400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02932" y="5387240"/>
            <a:ext cx="8740135" cy="609398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263776" indent="-263776" defTabSz="844083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  <a:tabLst>
                <a:tab pos="3477445" algn="l"/>
              </a:tabLst>
            </a:pPr>
            <a:r>
              <a:rPr kumimoji="1" lang="ko-KR" altLang="en-US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실제 현장에서 발생 가능성이 높은 </a:t>
            </a: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Data Imbalanced </a:t>
            </a:r>
            <a:r>
              <a:rPr kumimoji="1"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상황에서 성능을 끌어올릴 수 있는 </a:t>
            </a: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Solution</a:t>
            </a:r>
            <a:r>
              <a:rPr kumimoji="1"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을 확보했으며</a:t>
            </a: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, </a:t>
            </a:r>
          </a:p>
          <a:p>
            <a:pPr defTabSz="844083" fontAlgn="base" latinLnBrk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3477445" algn="l"/>
              </a:tabLst>
            </a:pP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       Defect Data</a:t>
            </a:r>
            <a:r>
              <a:rPr kumimoji="1"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가 </a:t>
            </a: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zero </a:t>
            </a:r>
            <a:r>
              <a:rPr kumimoji="1" lang="ko-KR" altLang="en-US" sz="1400" b="1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상태인 </a:t>
            </a:r>
            <a:r>
              <a:rPr kumimoji="1" lang="en-US" altLang="ko-KR" sz="1400" b="1" dirty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Outlier Detection </a:t>
            </a:r>
            <a:r>
              <a:rPr kumimoji="1" lang="en-US" altLang="ko-KR" sz="14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Methodology</a:t>
            </a:r>
            <a:r>
              <a:rPr kumimoji="1" lang="ko-KR" altLang="en-US" sz="14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를 확인함</a:t>
            </a:r>
            <a:r>
              <a:rPr kumimoji="1" lang="en-US" altLang="ko-KR" sz="14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.</a:t>
            </a:r>
            <a:endParaRPr kumimoji="1" lang="en-US" altLang="ko-KR" sz="1400" b="1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054348"/>
              </p:ext>
            </p:extLst>
          </p:nvPr>
        </p:nvGraphicFramePr>
        <p:xfrm>
          <a:off x="2743769" y="2422292"/>
          <a:ext cx="3147734" cy="1988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556"/>
                <a:gridCol w="580913"/>
                <a:gridCol w="580171"/>
                <a:gridCol w="629547"/>
                <a:gridCol w="629547"/>
              </a:tblGrid>
              <a:tr h="287963">
                <a:tc rowSpan="2" gridSpan="2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True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Value</a:t>
                      </a:r>
                      <a:endParaRPr lang="ko-KR" altLang="en-US" sz="140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3148">
                <a:tc gridSpan="2" vMerge="1">
                  <a:txBody>
                    <a:bodyPr/>
                    <a:lstStyle/>
                    <a:p>
                      <a:pPr algn="ctr" latinLnBrk="1"/>
                      <a:endParaRPr lang="en-US" altLang="ko-KR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Normal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Soft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efe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Hard</a:t>
                      </a:r>
                    </a:p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efe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3148">
                <a:tc rowSpan="3">
                  <a:txBody>
                    <a:bodyPr/>
                    <a:lstStyle/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4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4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Predict</a:t>
                      </a:r>
                      <a:r>
                        <a:rPr lang="en-US" altLang="ko-KR" sz="14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marL="0" marR="0" lvl="0" indent="0" algn="ctr" defTabSz="84408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Value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Normal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</a:rPr>
                        <a:t>558</a:t>
                      </a:r>
                      <a:endParaRPr lang="ko-KR" altLang="en-US" sz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ko-KR" altLang="en-US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3148">
                <a:tc v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Soft</a:t>
                      </a:r>
                      <a:r>
                        <a:rPr lang="en-US" altLang="ko-KR" sz="11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ctr" latinLnBrk="1"/>
                      <a:r>
                        <a:rPr lang="en-US" altLang="ko-KR" sz="1100" baseline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efe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</a:rPr>
                        <a:t>135</a:t>
                      </a:r>
                      <a:endParaRPr lang="ko-KR" altLang="en-US" sz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3148">
                <a:tc vMerge="1">
                  <a:txBody>
                    <a:bodyPr/>
                    <a:lstStyle/>
                    <a:p>
                      <a:pPr latinLnBrk="1"/>
                      <a:endParaRPr lang="ko-KR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Hard</a:t>
                      </a:r>
                    </a:p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efe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</a:rPr>
                        <a:t>356</a:t>
                      </a:r>
                      <a:endParaRPr lang="ko-KR" altLang="en-US" sz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99154" y="4457001"/>
            <a:ext cx="1279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&lt;Confusion Matrix&gt;</a:t>
            </a:r>
            <a:endParaRPr lang="ko-KR" altLang="en-US" sz="120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09349" y="3670408"/>
            <a:ext cx="22317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aseline="30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*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정밀도 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= (135+356) / (135 + 356) = 1.0</a:t>
            </a:r>
            <a:endParaRPr lang="ko-KR" altLang="en-US" sz="11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109349" y="3980789"/>
            <a:ext cx="25555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baseline="30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*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민감도 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= (135+356) / (</a:t>
            </a:r>
            <a:r>
              <a:rPr lang="en-US" altLang="ko-KR" sz="1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 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+ 135 + 356) = 0.998</a:t>
            </a:r>
            <a:endParaRPr lang="ko-KR" altLang="en-US" sz="11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grpSp>
        <p:nvGrpSpPr>
          <p:cNvPr id="23" name="그룹 22"/>
          <p:cNvGrpSpPr/>
          <p:nvPr/>
        </p:nvGrpSpPr>
        <p:grpSpPr>
          <a:xfrm>
            <a:off x="2541893" y="3640992"/>
            <a:ext cx="201876" cy="702476"/>
            <a:chOff x="2131455" y="3012440"/>
            <a:chExt cx="201876" cy="815647"/>
          </a:xfrm>
        </p:grpSpPr>
        <p:cxnSp>
          <p:nvCxnSpPr>
            <p:cNvPr id="7" name="직선 연결선 6"/>
            <p:cNvCxnSpPr/>
            <p:nvPr/>
          </p:nvCxnSpPr>
          <p:spPr>
            <a:xfrm>
              <a:off x="2131455" y="3012440"/>
              <a:ext cx="190407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연결선 18"/>
            <p:cNvCxnSpPr/>
            <p:nvPr/>
          </p:nvCxnSpPr>
          <p:spPr>
            <a:xfrm>
              <a:off x="2131455" y="3828087"/>
              <a:ext cx="201876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직선 연결선 20"/>
            <p:cNvCxnSpPr/>
            <p:nvPr/>
          </p:nvCxnSpPr>
          <p:spPr>
            <a:xfrm>
              <a:off x="2131455" y="3012440"/>
              <a:ext cx="0" cy="81564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1836929" y="3853732"/>
            <a:ext cx="625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sitive</a:t>
            </a:r>
            <a:endParaRPr lang="ko-KR" altLang="en-US" sz="12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2541894" y="3345860"/>
            <a:ext cx="190407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/>
          <p:cNvCxnSpPr/>
          <p:nvPr/>
        </p:nvCxnSpPr>
        <p:spPr>
          <a:xfrm>
            <a:off x="4358972" y="2246726"/>
            <a:ext cx="0" cy="175567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그룹 16"/>
          <p:cNvGrpSpPr/>
          <p:nvPr/>
        </p:nvGrpSpPr>
        <p:grpSpPr>
          <a:xfrm>
            <a:off x="4942750" y="2305149"/>
            <a:ext cx="815648" cy="99507"/>
            <a:chOff x="4607618" y="1699263"/>
            <a:chExt cx="815648" cy="99507"/>
          </a:xfrm>
        </p:grpSpPr>
        <p:cxnSp>
          <p:nvCxnSpPr>
            <p:cNvPr id="41" name="직선 연결선 40"/>
            <p:cNvCxnSpPr/>
            <p:nvPr/>
          </p:nvCxnSpPr>
          <p:spPr>
            <a:xfrm rot="5400000">
              <a:off x="5376339" y="1746190"/>
              <a:ext cx="9385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 rot="5400000">
              <a:off x="4557866" y="1749017"/>
              <a:ext cx="99506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 rot="5400000">
              <a:off x="5015442" y="1291440"/>
              <a:ext cx="0" cy="81564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Box 43"/>
          <p:cNvSpPr txBox="1"/>
          <p:nvPr/>
        </p:nvSpPr>
        <p:spPr>
          <a:xfrm>
            <a:off x="5076265" y="1993507"/>
            <a:ext cx="625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sitive</a:t>
            </a:r>
            <a:endParaRPr lang="ko-KR" altLang="en-US" sz="12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1382" y="2852079"/>
            <a:ext cx="1206773" cy="682089"/>
          </a:xfrm>
          <a:prstGeom prst="rect">
            <a:avLst/>
          </a:prstGeom>
        </p:spPr>
      </p:pic>
      <p:sp>
        <p:nvSpPr>
          <p:cNvPr id="29" name="직사각형 28"/>
          <p:cNvSpPr/>
          <p:nvPr/>
        </p:nvSpPr>
        <p:spPr>
          <a:xfrm>
            <a:off x="273000" y="670714"/>
            <a:ext cx="12378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종 결론</a:t>
            </a:r>
            <a:endParaRPr lang="ko-KR" altLang="en-US" sz="1600" dirty="0"/>
          </a:p>
        </p:txBody>
      </p:sp>
      <p:sp>
        <p:nvSpPr>
          <p:cNvPr id="28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1. </a:t>
            </a:r>
            <a:r>
              <a:rPr lang="ko-KR" altLang="en-US" sz="2000" smtClean="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설비 </a:t>
            </a:r>
            <a:r>
              <a:rPr lang="ko-KR" altLang="en-US" sz="200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반송 구동부 고장 진단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itchFamily="34" charset="0"/>
                <a:ea typeface="LG스마트체 Regular" pitchFamily="50" charset="-127"/>
              </a:rPr>
              <a:t>System</a:t>
            </a:r>
            <a:endParaRPr lang="ko-KR" altLang="en-US" sz="2000">
              <a:solidFill>
                <a:schemeClr val="bg1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2456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23"/>
          <p:cNvSpPr>
            <a:spLocks noChangeArrowheads="1"/>
          </p:cNvSpPr>
          <p:nvPr/>
        </p:nvSpPr>
        <p:spPr bwMode="auto">
          <a:xfrm>
            <a:off x="7971905" y="2606628"/>
            <a:ext cx="1478471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적용 평가</a:t>
            </a:r>
            <a:endParaRPr lang="en-US" altLang="ko-KR" sz="1100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Backend API </a:t>
            </a:r>
            <a:r>
              <a:rPr lang="ko-KR" altLang="en-US" sz="1100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</a:t>
            </a: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51" name="모서리가 둥근 직사각형 50"/>
          <p:cNvSpPr/>
          <p:nvPr/>
        </p:nvSpPr>
        <p:spPr>
          <a:xfrm>
            <a:off x="7844933" y="2492715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49" name="Rectangle 23"/>
          <p:cNvSpPr>
            <a:spLocks noChangeArrowheads="1"/>
          </p:cNvSpPr>
          <p:nvPr/>
        </p:nvSpPr>
        <p:spPr bwMode="auto">
          <a:xfrm>
            <a:off x="6477579" y="2606628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ptimizer</a:t>
            </a: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</a:t>
            </a:r>
            <a:endParaRPr lang="en-US" altLang="ko-KR" sz="1100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8" name="Rectangle 25"/>
          <p:cNvSpPr>
            <a:spLocks noChangeArrowheads="1"/>
          </p:cNvSpPr>
          <p:nvPr/>
        </p:nvSpPr>
        <p:spPr bwMode="auto">
          <a:xfrm>
            <a:off x="320451" y="615593"/>
            <a:ext cx="820241" cy="40121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개요 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auto">
          <a:xfrm>
            <a:off x="318002" y="1152882"/>
            <a:ext cx="820241" cy="49908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int</a:t>
            </a:r>
          </a:p>
        </p:txBody>
      </p:sp>
      <p:sp>
        <p:nvSpPr>
          <p:cNvPr id="83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6441" y="1143142"/>
            <a:ext cx="7810471" cy="474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dirty="0" smtClean="0">
                <a:latin typeface="Arial Narrow" pitchFamily="34" charset="0"/>
                <a:ea typeface="LG스마트체 Regular" pitchFamily="50" charset="-127"/>
              </a:rPr>
              <a:t>공정 진행 전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Global Maxima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를 찾기위해</a:t>
            </a:r>
            <a:r>
              <a:rPr lang="en-US" altLang="ko-KR" sz="1200" dirty="0">
                <a:latin typeface="Arial Narrow" pitchFamily="34" charset="0"/>
                <a:ea typeface="LG스마트체 Regular" pitchFamily="50" charset="-127"/>
              </a:rPr>
              <a:t> 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단위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Step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으로 진행하다 보니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Tact Time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이 초과함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.</a:t>
            </a:r>
          </a:p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dirty="0" smtClean="0">
                <a:latin typeface="Arial Narrow" pitchFamily="34" charset="0"/>
                <a:ea typeface="LG스마트체 Regular" pitchFamily="50" charset="-127"/>
              </a:rPr>
              <a:t>단위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Step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으로 찾은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Maxima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가 실제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Global Maxima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인지 알 수 없음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.</a:t>
            </a:r>
          </a:p>
        </p:txBody>
      </p:sp>
      <p:sp>
        <p:nvSpPr>
          <p:cNvPr id="87" name="Rectangle 23"/>
          <p:cNvSpPr>
            <a:spLocks noChangeArrowheads="1"/>
          </p:cNvSpPr>
          <p:nvPr/>
        </p:nvSpPr>
        <p:spPr bwMode="auto">
          <a:xfrm>
            <a:off x="1335440" y="2594977"/>
            <a:ext cx="1145896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lang="ko-KR" altLang="en-US" sz="1100" ker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100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 및</a:t>
            </a:r>
            <a:endParaRPr lang="en-US" altLang="ko-KR" sz="1100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전처리</a:t>
            </a:r>
            <a:endParaRPr lang="ko-KR" altLang="ko-KR" sz="1100" kern="0" dirty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8" name="Rectangle 23"/>
          <p:cNvSpPr>
            <a:spLocks noChangeArrowheads="1"/>
          </p:cNvSpPr>
          <p:nvPr/>
        </p:nvSpPr>
        <p:spPr bwMode="auto">
          <a:xfrm>
            <a:off x="2838712" y="2594977"/>
            <a:ext cx="1783638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bjective Function </a:t>
            </a:r>
            <a:r>
              <a:rPr lang="ko-KR" altLang="en-US" sz="1100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정의</a:t>
            </a:r>
            <a:endParaRPr lang="en-US" altLang="ko-KR" sz="1100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(Regression Model </a:t>
            </a:r>
            <a:r>
              <a:rPr lang="ko-KR" altLang="en-US" sz="1100" kern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학습</a:t>
            </a: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93" name="Rectangle 23"/>
          <p:cNvSpPr>
            <a:spLocks noChangeArrowheads="1"/>
          </p:cNvSpPr>
          <p:nvPr/>
        </p:nvSpPr>
        <p:spPr bwMode="auto">
          <a:xfrm>
            <a:off x="4979726" y="2599706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평가</a:t>
            </a:r>
            <a:endParaRPr lang="en-US" altLang="ko-KR" sz="1100" kern="0" dirty="0" smtClean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97" name="오른쪽 화살표 96"/>
          <p:cNvSpPr/>
          <p:nvPr/>
        </p:nvSpPr>
        <p:spPr>
          <a:xfrm>
            <a:off x="1335440" y="2760669"/>
            <a:ext cx="8114936" cy="167473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923" b="1" dirty="0">
              <a:solidFill>
                <a:srgbClr val="FF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66" name="Rectangle 25"/>
          <p:cNvSpPr>
            <a:spLocks noChangeArrowheads="1"/>
          </p:cNvSpPr>
          <p:nvPr/>
        </p:nvSpPr>
        <p:spPr bwMode="auto">
          <a:xfrm>
            <a:off x="318001" y="1788045"/>
            <a:ext cx="820241" cy="54618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 smtClean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목적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67" name="Rectangle 25"/>
          <p:cNvSpPr>
            <a:spLocks noChangeArrowheads="1"/>
          </p:cNvSpPr>
          <p:nvPr/>
        </p:nvSpPr>
        <p:spPr bwMode="auto">
          <a:xfrm>
            <a:off x="318001" y="2470307"/>
            <a:ext cx="820241" cy="74030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oad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p</a:t>
            </a:r>
          </a:p>
        </p:txBody>
      </p:sp>
      <p:sp>
        <p:nvSpPr>
          <p:cNvPr id="70" name="Rectangle 25"/>
          <p:cNvSpPr>
            <a:spLocks noChangeArrowheads="1"/>
          </p:cNvSpPr>
          <p:nvPr/>
        </p:nvSpPr>
        <p:spPr bwMode="auto">
          <a:xfrm>
            <a:off x="318000" y="3346687"/>
            <a:ext cx="820241" cy="3281771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 smtClean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접근법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148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8199" y="1895705"/>
            <a:ext cx="8647801" cy="25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 된 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X(Axis), Y(Focus) Data</a:t>
            </a:r>
            <a:r>
              <a:rPr lang="ko-KR" altLang="en-US" sz="1200" b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활용하여 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ML </a:t>
            </a:r>
            <a:r>
              <a:rPr lang="ko-KR" altLang="en-US" sz="1200" b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Object Function</a:t>
            </a:r>
            <a:r>
              <a:rPr lang="ko-KR" altLang="en-US" sz="1200" b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구축하고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Function </a:t>
            </a:r>
            <a:r>
              <a:rPr lang="ko-KR" altLang="en-US" sz="1200" b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내 최대 값을 가지는 </a:t>
            </a:r>
            <a:r>
              <a:rPr lang="en-US" altLang="ko-KR" sz="1200" b="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X </a:t>
            </a:r>
            <a:r>
              <a:rPr lang="ko-KR" altLang="en-US" sz="1200" b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값들을 찾아내는 것이 목표</a:t>
            </a:r>
            <a:endParaRPr lang="en-US" altLang="ko-KR" sz="12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9" name="Rectangle 17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35440" y="635351"/>
            <a:ext cx="4208196" cy="2868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머신러닝 활용 </a:t>
            </a:r>
            <a:r>
              <a:rPr lang="en-US" altLang="ko-KR" sz="14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Hexapod </a:t>
            </a:r>
            <a:r>
              <a:rPr lang="ko-KR" altLang="en-US" sz="1400" b="1"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 위치 제어</a:t>
            </a:r>
            <a:endParaRPr lang="en-US" altLang="ko-KR" sz="14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9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540557" y="4158640"/>
            <a:ext cx="1478926" cy="1133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6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</a:rPr>
              <a:t>AI Model</a:t>
            </a:r>
          </a:p>
          <a:p>
            <a:pPr algn="ctr">
              <a:lnSpc>
                <a:spcPct val="130000"/>
              </a:lnSpc>
            </a:pP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</a:rPr>
              <a:t>Focus Predict</a:t>
            </a:r>
            <a:endParaRPr lang="ko-KR" alt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</a:endParaRPr>
          </a:p>
        </p:txBody>
      </p:sp>
      <p:cxnSp>
        <p:nvCxnSpPr>
          <p:cNvPr id="31" name="직선 화살표 연결선 30"/>
          <p:cNvCxnSpPr/>
          <p:nvPr/>
        </p:nvCxnSpPr>
        <p:spPr>
          <a:xfrm>
            <a:off x="4094185" y="4438833"/>
            <a:ext cx="22705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511700"/>
              </p:ext>
            </p:extLst>
          </p:nvPr>
        </p:nvGraphicFramePr>
        <p:xfrm>
          <a:off x="1618375" y="3904274"/>
          <a:ext cx="2293545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4515"/>
                <a:gridCol w="764515"/>
                <a:gridCol w="764515"/>
              </a:tblGrid>
              <a:tr h="38919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X</a:t>
                      </a:r>
                    </a:p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18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Y</a:t>
                      </a:r>
                    </a:p>
                    <a:p>
                      <a:pPr marL="0" marR="0" lvl="0" indent="0" algn="ctr" defTabSz="8718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2000" b="1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Z</a:t>
                      </a:r>
                    </a:p>
                    <a:p>
                      <a:pPr marL="0" marR="0" lvl="0" indent="0" algn="ctr" defTabSz="8718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2000" b="1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 bwMode="auto">
          <a:xfrm>
            <a:off x="1908388" y="3514359"/>
            <a:ext cx="1710751" cy="37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 anchor="t">
            <a:spAutoFit/>
          </a:bodyPr>
          <a:lstStyle/>
          <a:p>
            <a:pPr algn="ctr" eaLnBrk="0" latinLnBrk="0" hangingPunct="0">
              <a:lnSpc>
                <a:spcPct val="130000"/>
              </a:lnSpc>
            </a:pPr>
            <a:r>
              <a:rPr lang="en-US" altLang="ko-KR" sz="1400" b="1" kern="0" dirty="0" smtClean="0"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Axis Boundary Set</a:t>
            </a:r>
            <a:endParaRPr lang="ko-KR" altLang="en-US" sz="1400" b="1" kern="0" dirty="0" smtClean="0"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959314"/>
              </p:ext>
            </p:extLst>
          </p:nvPr>
        </p:nvGraphicFramePr>
        <p:xfrm>
          <a:off x="1618376" y="4659796"/>
          <a:ext cx="2293545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4515"/>
                <a:gridCol w="764515"/>
                <a:gridCol w="764515"/>
              </a:tblGrid>
              <a:tr h="34275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U</a:t>
                      </a:r>
                    </a:p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18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V</a:t>
                      </a:r>
                    </a:p>
                    <a:p>
                      <a:pPr marL="0" marR="0" lvl="0" indent="0" algn="ctr" defTabSz="8718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2000" b="1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W</a:t>
                      </a:r>
                    </a:p>
                    <a:p>
                      <a:pPr marL="0" marR="0" lvl="0" indent="0" algn="ctr" defTabSz="87188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min ~ max)</a:t>
                      </a:r>
                      <a:endParaRPr lang="ko-KR" altLang="en-US" sz="2000" b="1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5" name="직사각형 34"/>
          <p:cNvSpPr/>
          <p:nvPr/>
        </p:nvSpPr>
        <p:spPr>
          <a:xfrm>
            <a:off x="7563000" y="4174228"/>
            <a:ext cx="1971975" cy="108694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1600" b="1" dirty="0" smtClean="0">
                <a:solidFill>
                  <a:schemeClr val="tx1"/>
                </a:solidFill>
                <a:latin typeface="Arial Narrow" panose="020B0606020202030204" pitchFamily="34" charset="0"/>
                <a:ea typeface="+mj-ea"/>
              </a:rPr>
              <a:t>Optimizer</a:t>
            </a:r>
            <a:endParaRPr lang="ko-KR" altLang="en-US" sz="1600" dirty="0">
              <a:solidFill>
                <a:schemeClr val="tx1"/>
              </a:solidFill>
              <a:latin typeface="Arial Narrow" panose="020B0606020202030204" pitchFamily="34" charset="0"/>
              <a:ea typeface="+mj-ea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4481043" y="3776134"/>
            <a:ext cx="1597954" cy="37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 anchor="t">
            <a:spAutoFit/>
          </a:bodyPr>
          <a:lstStyle/>
          <a:p>
            <a:pPr algn="ctr" eaLnBrk="0" latinLnBrk="0" hangingPunct="0">
              <a:lnSpc>
                <a:spcPct val="130000"/>
              </a:lnSpc>
            </a:pPr>
            <a:r>
              <a:rPr lang="en-US" altLang="ko-KR" sz="1400" b="1" kern="0" dirty="0" smtClean="0"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Objective Function</a:t>
            </a:r>
            <a:endParaRPr lang="ko-KR" altLang="en-US" sz="1400" b="1" kern="0" dirty="0" smtClean="0"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37" name="직선 화살표 연결선 36"/>
          <p:cNvCxnSpPr>
            <a:stCxn id="30" idx="3"/>
            <a:endCxn id="35" idx="1"/>
          </p:cNvCxnSpPr>
          <p:nvPr/>
        </p:nvCxnSpPr>
        <p:spPr>
          <a:xfrm flipV="1">
            <a:off x="6019483" y="4717703"/>
            <a:ext cx="1543517" cy="75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 bwMode="auto">
          <a:xfrm>
            <a:off x="6759427" y="4312388"/>
            <a:ext cx="448789" cy="37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 anchor="t">
            <a:spAutoFit/>
          </a:bodyPr>
          <a:lstStyle/>
          <a:p>
            <a:pPr eaLnBrk="0" latinLnBrk="0" hangingPunct="0">
              <a:lnSpc>
                <a:spcPct val="130000"/>
              </a:lnSpc>
            </a:pPr>
            <a:r>
              <a:rPr lang="en-US" altLang="ko-KR" sz="1400" b="1" kern="0" dirty="0" smtClean="0">
                <a:solidFill>
                  <a:srgbClr val="FF0000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No</a:t>
            </a:r>
            <a:endParaRPr lang="ko-KR" altLang="en-US" sz="1400" b="1" kern="0" dirty="0" smtClean="0">
              <a:solidFill>
                <a:srgbClr val="FF0000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cxnSp>
        <p:nvCxnSpPr>
          <p:cNvPr id="39" name="꺾인 연결선 38"/>
          <p:cNvCxnSpPr>
            <a:stCxn id="35" idx="2"/>
            <a:endCxn id="34" idx="2"/>
          </p:cNvCxnSpPr>
          <p:nvPr/>
        </p:nvCxnSpPr>
        <p:spPr>
          <a:xfrm rot="5400000" flipH="1">
            <a:off x="5584977" y="2297167"/>
            <a:ext cx="144181" cy="5783840"/>
          </a:xfrm>
          <a:prstGeom prst="bentConnector3">
            <a:avLst>
              <a:gd name="adj1" fmla="val -158551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auto">
          <a:xfrm>
            <a:off x="3094021" y="5456388"/>
            <a:ext cx="817522" cy="37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 anchor="t">
            <a:spAutoFit/>
          </a:bodyPr>
          <a:lstStyle/>
          <a:p>
            <a:pPr eaLnBrk="0" latinLnBrk="0" hangingPunct="0">
              <a:lnSpc>
                <a:spcPct val="130000"/>
              </a:lnSpc>
            </a:pPr>
            <a:r>
              <a:rPr lang="en-US" altLang="ko-KR" sz="1400" b="1" kern="0" dirty="0" smtClean="0"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Update</a:t>
            </a:r>
            <a:endParaRPr lang="ko-KR" altLang="en-US" sz="1400" b="1" kern="0" dirty="0" smtClean="0"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6339686" y="5086349"/>
            <a:ext cx="419741" cy="334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rtlCol="0" anchor="t">
            <a:spAutoFit/>
          </a:bodyPr>
          <a:lstStyle/>
          <a:p>
            <a:pPr eaLnBrk="0" latinLnBrk="0" hangingPunct="0">
              <a:lnSpc>
                <a:spcPct val="130000"/>
              </a:lnSpc>
            </a:pPr>
            <a:r>
              <a:rPr lang="en-US" altLang="ko-KR" sz="1200" b="1" kern="0" dirty="0" smtClean="0">
                <a:solidFill>
                  <a:srgbClr val="0000CC"/>
                </a:solidFill>
                <a:latin typeface="Arial Narrow" pitchFamily="34" charset="0"/>
                <a:ea typeface="LG스마트체 Regular" pitchFamily="50" charset="-127"/>
                <a:cs typeface="Arial" pitchFamily="34" charset="0"/>
              </a:rPr>
              <a:t>OK</a:t>
            </a:r>
            <a:endParaRPr lang="ko-KR" altLang="en-US" sz="1200" b="1" kern="0" dirty="0" smtClean="0">
              <a:solidFill>
                <a:srgbClr val="0000CC"/>
              </a:solidFill>
              <a:latin typeface="Arial Narrow" pitchFamily="34" charset="0"/>
              <a:ea typeface="LG스마트체 Regular" pitchFamily="50" charset="-127"/>
              <a:cs typeface="Arial" pitchFamily="34" charset="0"/>
            </a:endParaRP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495117"/>
              </p:ext>
            </p:extLst>
          </p:nvPr>
        </p:nvGraphicFramePr>
        <p:xfrm>
          <a:off x="3659090" y="5968998"/>
          <a:ext cx="3549126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521"/>
                <a:gridCol w="591521"/>
                <a:gridCol w="591521"/>
                <a:gridCol w="591521"/>
                <a:gridCol w="591521"/>
                <a:gridCol w="591521"/>
              </a:tblGrid>
              <a:tr h="26479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X</a:t>
                      </a:r>
                      <a:endParaRPr lang="ko-KR" alt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Y</a:t>
                      </a:r>
                      <a:endParaRPr lang="ko-KR" altLang="en-US" sz="160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Z</a:t>
                      </a:r>
                      <a:endParaRPr lang="ko-KR" altLang="en-US" sz="160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U</a:t>
                      </a:r>
                      <a:endParaRPr lang="ko-KR" alt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V</a:t>
                      </a:r>
                      <a:endParaRPr lang="ko-KR" alt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lW</a:t>
                      </a:r>
                      <a:endParaRPr lang="ko-KR" altLang="en-US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43" name="꺾인 연결선 42"/>
          <p:cNvCxnSpPr>
            <a:stCxn id="30" idx="3"/>
            <a:endCxn id="42" idx="0"/>
          </p:cNvCxnSpPr>
          <p:nvPr/>
        </p:nvCxnSpPr>
        <p:spPr>
          <a:xfrm flipH="1">
            <a:off x="5433653" y="4725253"/>
            <a:ext cx="585830" cy="1243745"/>
          </a:xfrm>
          <a:prstGeom prst="bentConnector4">
            <a:avLst>
              <a:gd name="adj1" fmla="val -39022"/>
              <a:gd name="adj2" fmla="val 72779"/>
            </a:avLst>
          </a:prstGeom>
          <a:ln>
            <a:solidFill>
              <a:srgbClr val="0000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모서리가 둥근 직사각형 43"/>
          <p:cNvSpPr/>
          <p:nvPr/>
        </p:nvSpPr>
        <p:spPr>
          <a:xfrm>
            <a:off x="1196967" y="2511373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45" name="모서리가 둥근 직사각형 44"/>
          <p:cNvSpPr/>
          <p:nvPr/>
        </p:nvSpPr>
        <p:spPr>
          <a:xfrm>
            <a:off x="2704826" y="2512975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  <a:endParaRPr kumimoji="1" lang="ko-KR" altLang="en-US" sz="800" b="1" dirty="0">
              <a:solidFill>
                <a:prstClr val="white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4849949" y="2505279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48" name="모서리가 둥근 직사각형 47"/>
          <p:cNvSpPr/>
          <p:nvPr/>
        </p:nvSpPr>
        <p:spPr>
          <a:xfrm>
            <a:off x="6350607" y="2492715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</p:spTree>
    <p:extLst>
      <p:ext uri="{BB962C8B-B14F-4D97-AF65-F5344CB8AC3E}">
        <p14:creationId xmlns:p14="http://schemas.microsoft.com/office/powerpoint/2010/main" val="372689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직사각형 23"/>
          <p:cNvSpPr/>
          <p:nvPr/>
        </p:nvSpPr>
        <p:spPr>
          <a:xfrm>
            <a:off x="19890" y="607029"/>
            <a:ext cx="4953000" cy="4524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</a:rPr>
              <a:t>Objective Function – Focus Regression</a:t>
            </a:r>
            <a:endParaRPr lang="ko-KR" altLang="en-US" b="1" dirty="0">
              <a:latin typeface="Arial Narrow" panose="020B0606020202030204" pitchFamily="34" charset="0"/>
            </a:endParaRPr>
          </a:p>
        </p:txBody>
      </p:sp>
      <p:graphicFrame>
        <p:nvGraphicFramePr>
          <p:cNvPr id="25" name="표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8685888"/>
              </p:ext>
            </p:extLst>
          </p:nvPr>
        </p:nvGraphicFramePr>
        <p:xfrm>
          <a:off x="491330" y="1719500"/>
          <a:ext cx="1119011" cy="2789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011"/>
              </a:tblGrid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 smtClean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LensNum</a:t>
                      </a:r>
                      <a:endParaRPr lang="ko-KR" altLang="en-US" sz="1100" b="0" dirty="0">
                        <a:solidFill>
                          <a:sysClr val="windowText" lastClr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MeasureField</a:t>
                      </a: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ROI</a:t>
                      </a:r>
                      <a:r>
                        <a:rPr lang="en-US" altLang="ko-KR" sz="1100" baseline="0" dirty="0" smtClean="0">
                          <a:latin typeface="Arial Narrow" panose="020B0606020202030204" pitchFamily="34" charset="0"/>
                        </a:rPr>
                        <a:t>Count</a:t>
                      </a:r>
                      <a:endParaRPr lang="ko-KR" altLang="en-US" sz="110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Position</a:t>
                      </a:r>
                      <a:endParaRPr lang="ko-KR" altLang="en-US" sz="110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X</a:t>
                      </a:r>
                      <a:endParaRPr lang="ko-KR" altLang="en-US" sz="110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Y</a:t>
                      </a:r>
                      <a:endParaRPr lang="ko-KR" altLang="en-US" sz="1100" dirty="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Z</a:t>
                      </a:r>
                      <a:endParaRPr lang="ko-KR" altLang="en-US" sz="1100" dirty="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U</a:t>
                      </a:r>
                      <a:endParaRPr lang="ko-KR" altLang="en-US" sz="1100" dirty="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V</a:t>
                      </a:r>
                      <a:endParaRPr lang="ko-KR" altLang="en-US" sz="1100" dirty="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89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latin typeface="Arial Narrow" panose="020B0606020202030204" pitchFamily="34" charset="0"/>
                        </a:rPr>
                        <a:t>lW</a:t>
                      </a:r>
                      <a:endParaRPr lang="ko-KR" altLang="en-US" sz="1100" dirty="0"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6" name="직선 화살표 연결선 25"/>
          <p:cNvCxnSpPr/>
          <p:nvPr/>
        </p:nvCxnSpPr>
        <p:spPr>
          <a:xfrm>
            <a:off x="1694371" y="2976525"/>
            <a:ext cx="36334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표 26"/>
          <p:cNvGraphicFramePr>
            <a:graphicFrameLocks noGrp="1"/>
          </p:cNvGraphicFramePr>
          <p:nvPr>
            <p:extLst/>
          </p:nvPr>
        </p:nvGraphicFramePr>
        <p:xfrm>
          <a:off x="2130506" y="2852700"/>
          <a:ext cx="871652" cy="247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1652"/>
              </a:tblGrid>
              <a:tr h="247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 smtClean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LG스마트체 Regular" panose="020B0600000101010101" pitchFamily="50" charset="-127"/>
                        </a:rPr>
                        <a:t>Focus</a:t>
                      </a:r>
                      <a:endParaRPr lang="ko-KR" altLang="en-US" sz="1100" b="0" dirty="0">
                        <a:solidFill>
                          <a:sysClr val="windowText" lastClr="000000"/>
                        </a:solidFill>
                        <a:latin typeface="Arial Narrow" panose="020B0606020202030204" pitchFamily="34" charset="0"/>
                        <a:ea typeface="LG스마트체 Regular" panose="020B0600000101010101" pitchFamily="50" charset="-127"/>
                      </a:endParaRPr>
                    </a:p>
                  </a:txBody>
                  <a:tcPr marL="74295" marR="74295" marT="37148" marB="3714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8" name="직사각형 27"/>
          <p:cNvSpPr/>
          <p:nvPr/>
        </p:nvSpPr>
        <p:spPr>
          <a:xfrm>
            <a:off x="272480" y="1323562"/>
            <a:ext cx="2843781" cy="33075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25"/>
          </a:p>
        </p:txBody>
      </p:sp>
      <p:sp>
        <p:nvSpPr>
          <p:cNvPr id="29" name="TextBox 28"/>
          <p:cNvSpPr txBox="1"/>
          <p:nvPr/>
        </p:nvSpPr>
        <p:spPr>
          <a:xfrm>
            <a:off x="795829" y="1310522"/>
            <a:ext cx="1720343" cy="3424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625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Objective Function</a:t>
            </a:r>
            <a:endParaRPr lang="ko-KR" altLang="en-US" sz="1625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56417" y="3119352"/>
            <a:ext cx="1019830" cy="3924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975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Focus Predict </a:t>
            </a:r>
          </a:p>
          <a:p>
            <a:pPr algn="ctr"/>
            <a:r>
              <a:rPr lang="ko-KR" altLang="en-US" sz="975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 </a:t>
            </a:r>
            <a:r>
              <a:rPr lang="en-US" altLang="ko-KR" sz="975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Weight </a:t>
            </a:r>
            <a:r>
              <a:rPr lang="ko-KR" altLang="en-US" sz="975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확보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2816" y="4873112"/>
            <a:ext cx="34323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TF Align Realtime Data </a:t>
            </a: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8Set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약 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7000 Row)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이용하여 </a:t>
            </a:r>
            <a:endParaRPr lang="en-US" altLang="ko-KR" sz="11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Focus </a:t>
            </a:r>
            <a:r>
              <a:rPr lang="en-US" altLang="ko-KR" sz="11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Regression Model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 학습을 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행함</a:t>
            </a: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ko-KR" altLang="en-US" sz="110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0" name="그림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3270" y="1249536"/>
            <a:ext cx="6016894" cy="3010965"/>
          </a:xfrm>
          <a:prstGeom prst="rect">
            <a:avLst/>
          </a:prstGeom>
        </p:spPr>
      </p:pic>
      <p:grpSp>
        <p:nvGrpSpPr>
          <p:cNvPr id="41" name="그룹 40"/>
          <p:cNvGrpSpPr/>
          <p:nvPr/>
        </p:nvGrpSpPr>
        <p:grpSpPr>
          <a:xfrm>
            <a:off x="8265368" y="660837"/>
            <a:ext cx="1434379" cy="461665"/>
            <a:chOff x="8265368" y="333392"/>
            <a:chExt cx="1434379" cy="461665"/>
          </a:xfrm>
        </p:grpSpPr>
        <p:sp>
          <p:nvSpPr>
            <p:cNvPr id="42" name="TextBox 41"/>
            <p:cNvSpPr txBox="1"/>
            <p:nvPr/>
          </p:nvSpPr>
          <p:spPr>
            <a:xfrm>
              <a:off x="8678314" y="333392"/>
              <a:ext cx="102143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Arial Narrow" panose="020B0606020202030204" pitchFamily="34" charset="0"/>
                </a:rPr>
                <a:t>Predict Focus</a:t>
              </a:r>
            </a:p>
            <a:p>
              <a:r>
                <a:rPr lang="en-US" altLang="ko-KR" sz="1200" dirty="0" smtClean="0">
                  <a:latin typeface="Arial Narrow" panose="020B0606020202030204" pitchFamily="34" charset="0"/>
                </a:rPr>
                <a:t>Real Focus</a:t>
              </a:r>
              <a:endParaRPr lang="ko-KR" altLang="en-US" sz="1200">
                <a:latin typeface="Arial Narrow" panose="020B0606020202030204" pitchFamily="34" charset="0"/>
              </a:endParaRPr>
            </a:p>
          </p:txBody>
        </p:sp>
        <p:cxnSp>
          <p:nvCxnSpPr>
            <p:cNvPr id="43" name="직선 연결선 42"/>
            <p:cNvCxnSpPr/>
            <p:nvPr/>
          </p:nvCxnSpPr>
          <p:spPr>
            <a:xfrm>
              <a:off x="8265368" y="476672"/>
              <a:ext cx="360040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직선 연결선 43"/>
            <p:cNvCxnSpPr/>
            <p:nvPr/>
          </p:nvCxnSpPr>
          <p:spPr>
            <a:xfrm>
              <a:off x="8274326" y="692696"/>
              <a:ext cx="360040" cy="0"/>
            </a:xfrm>
            <a:prstGeom prst="line">
              <a:avLst/>
            </a:prstGeom>
            <a:ln w="28575"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그룹 45"/>
          <p:cNvGrpSpPr/>
          <p:nvPr/>
        </p:nvGrpSpPr>
        <p:grpSpPr>
          <a:xfrm>
            <a:off x="4615378" y="4387535"/>
            <a:ext cx="5224786" cy="2209817"/>
            <a:chOff x="3213195" y="4608774"/>
            <a:chExt cx="6626969" cy="1796190"/>
          </a:xfrm>
        </p:grpSpPr>
        <p:pic>
          <p:nvPicPr>
            <p:cNvPr id="47" name="그림 4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074"/>
            <a:stretch/>
          </p:blipFill>
          <p:spPr>
            <a:xfrm>
              <a:off x="4245938" y="4608774"/>
              <a:ext cx="5594226" cy="1772554"/>
            </a:xfrm>
            <a:prstGeom prst="rect">
              <a:avLst/>
            </a:prstGeom>
          </p:spPr>
        </p:pic>
        <p:sp>
          <p:nvSpPr>
            <p:cNvPr id="48" name="TextBox 47"/>
            <p:cNvSpPr txBox="1"/>
            <p:nvPr/>
          </p:nvSpPr>
          <p:spPr>
            <a:xfrm>
              <a:off x="3411235" y="6143354"/>
              <a:ext cx="80536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latin typeface="Arial Narrow" panose="020B0606020202030204" pitchFamily="34" charset="0"/>
                </a:rPr>
                <a:t>Accuracy</a:t>
              </a:r>
              <a:endParaRPr lang="ko-KR" altLang="en-US" sz="1100">
                <a:latin typeface="Arial Narrow" panose="020B060602020203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213195" y="5495050"/>
              <a:ext cx="103274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latin typeface="Arial Narrow" panose="020B0606020202030204" pitchFamily="34" charset="0"/>
                </a:rPr>
                <a:t>Predict value</a:t>
              </a:r>
              <a:endParaRPr lang="ko-KR" altLang="en-US" sz="1100">
                <a:latin typeface="Arial Narrow" panose="020B060602020203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381896" y="5807384"/>
              <a:ext cx="86404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 dirty="0" smtClean="0">
                  <a:latin typeface="Arial Narrow" panose="020B0606020202030204" pitchFamily="34" charset="0"/>
                </a:rPr>
                <a:t>Real value</a:t>
              </a:r>
              <a:endParaRPr lang="ko-KR" altLang="en-US" sz="1100">
                <a:latin typeface="Arial Narrow" panose="020B0606020202030204" pitchFamily="34" charset="0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32816" y="5378317"/>
            <a:ext cx="354456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8set data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로 학습된 </a:t>
            </a: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로 </a:t>
            </a: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est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2set Data Predict 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행 </a:t>
            </a:r>
            <a:r>
              <a:rPr lang="ko-KR" altLang="en-US" sz="1100">
                <a:latin typeface="Arial Narrow" panose="020B0606020202030204" pitchFamily="34" charset="0"/>
                <a:ea typeface="LG스마트체 Regular" panose="020B0600000101010101" pitchFamily="50" charset="-127"/>
              </a:rPr>
              <a:t>시</a:t>
            </a:r>
            <a:endParaRPr lang="en-US" altLang="ko-KR" sz="11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99.6% Accuracy </a:t>
            </a:r>
            <a:r>
              <a:rPr lang="ko-KR" altLang="en-US" sz="11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확보</a:t>
            </a:r>
            <a:endParaRPr lang="ko-KR" altLang="en-US" sz="110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2816" y="5965598"/>
            <a:ext cx="43765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ptimizing</a:t>
            </a:r>
            <a:r>
              <a:rPr lang="ko-KR" altLang="en-US" sz="12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을 위한 </a:t>
            </a:r>
            <a:r>
              <a:rPr lang="en-US" altLang="ko-KR" sz="1200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Objective Function</a:t>
            </a:r>
            <a:r>
              <a:rPr lang="ko-KR" altLang="en-US" sz="120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으로 사용 적합하다고 판단함</a:t>
            </a:r>
            <a:r>
              <a:rPr lang="en-US" altLang="ko-KR" sz="1200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ko-KR" altLang="en-US" sz="120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106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그림 17"/>
          <p:cNvPicPr>
            <a:picLocks noChangeAspect="1"/>
          </p:cNvPicPr>
          <p:nvPr/>
        </p:nvPicPr>
        <p:blipFill rotWithShape="1">
          <a:blip r:embed="rId3"/>
          <a:srcRect r="11060"/>
          <a:stretch/>
        </p:blipFill>
        <p:spPr>
          <a:xfrm>
            <a:off x="1392007" y="3693800"/>
            <a:ext cx="1584177" cy="54292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-9862" y="748499"/>
            <a:ext cx="4456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Objective Function(Model) Overfitting Issue</a:t>
            </a:r>
            <a:endParaRPr lang="ko-KR" altLang="en-US" b="1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6904" y="1399395"/>
            <a:ext cx="98090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특정 날짜의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TF AA Data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를 분할하여 학습 시킨 뒤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odel Accuracy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를 확인했을 경우</a:t>
            </a:r>
            <a:endParaRPr lang="en-US" altLang="ko-KR" sz="1600" b="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   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94~95%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정확도가 확인되나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학습에 참여된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 경우에도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rain Test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로 분할 함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, </a:t>
            </a:r>
          </a:p>
          <a:p>
            <a:pPr>
              <a:lnSpc>
                <a:spcPct val="150000"/>
              </a:lnSpc>
            </a:pPr>
            <a:r>
              <a:rPr lang="en-US" altLang="ko-KR" sz="1600" b="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   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학습에 참여되지않은 마지막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-ID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에서 또한 비슷한 정확도가 확보되지 못하고 정확도가 현저히 낮아짐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  <a:endParaRPr lang="ko-KR" altLang="en-US" sz="1600" b="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60802" y="1272437"/>
            <a:ext cx="30588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* </a:t>
            </a:r>
            <a:r>
              <a:rPr lang="ko-KR" altLang="en-US" sz="105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앞선 </a:t>
            </a:r>
            <a:r>
              <a:rPr lang="en-US" altLang="ko-KR" sz="105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</a:t>
            </a:r>
            <a:r>
              <a:rPr lang="ko-KR" altLang="en-US" sz="105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05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05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05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2600Row</a:t>
            </a:r>
            <a:r>
              <a:rPr lang="en-US" altLang="ko-KR" sz="1050" dirty="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+ </a:t>
            </a:r>
            <a:r>
              <a:rPr lang="ko-KR" altLang="en-US" sz="105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마지막 </a:t>
            </a:r>
            <a:r>
              <a:rPr lang="en-US" altLang="ko-KR" sz="105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-ID Data </a:t>
            </a:r>
            <a:r>
              <a:rPr lang="ko-KR" altLang="en-US" sz="1050" smtClean="0">
                <a:solidFill>
                  <a:srgbClr val="0066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제외 </a:t>
            </a:r>
            <a:endParaRPr lang="ko-KR" altLang="en-US" sz="1050" dirty="0">
              <a:solidFill>
                <a:srgbClr val="0066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3508" y="3263555"/>
            <a:ext cx="45394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학습에 포함시킨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 Data Accuracy</a:t>
            </a:r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3636" y="2829784"/>
            <a:ext cx="5132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Arial Narrow" panose="020B0606020202030204" pitchFamily="34" charset="0"/>
                <a:cs typeface="Arial" pitchFamily="34" charset="0"/>
              </a:rPr>
              <a:t>Ex)</a:t>
            </a:r>
            <a:endParaRPr lang="ko-KR" altLang="en-US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707804" y="3263555"/>
            <a:ext cx="39489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학습에 포함되지 </a:t>
            </a:r>
            <a:r>
              <a:rPr lang="ko-KR" altLang="en-US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않은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 Accuracy</a:t>
            </a:r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8000" y="3693799"/>
            <a:ext cx="1948509" cy="5429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3636" y="5126602"/>
            <a:ext cx="502060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TF Data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두 가지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ype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가 공존함</a:t>
            </a:r>
            <a:endParaRPr lang="en-US" altLang="ko-KR" sz="160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  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-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극한 </a:t>
            </a:r>
            <a:r>
              <a:rPr lang="ko-KR" altLang="en-US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값을 찾아가는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Real-time Data</a:t>
            </a:r>
          </a:p>
          <a:p>
            <a:pPr>
              <a:lnSpc>
                <a:spcPct val="150000"/>
              </a:lnSpc>
            </a:pP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   - Real time</a:t>
            </a:r>
            <a:r>
              <a:rPr lang="ko-KR" altLang="en-US" sz="1600" b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 </a:t>
            </a:r>
            <a:r>
              <a:rPr lang="ko-KR" altLang="en-US" sz="1600" b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이후 곧바로 진행되는 </a:t>
            </a:r>
            <a:r>
              <a:rPr lang="en-US" altLang="ko-KR" sz="1600" b="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tep(MTF) Align Data </a:t>
            </a:r>
            <a:endParaRPr lang="en-US" altLang="ko-KR" sz="1600" b="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0" y="4705635"/>
            <a:ext cx="20056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해결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방안 설정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1" name="오른쪽 화살표 10"/>
          <p:cNvSpPr/>
          <p:nvPr/>
        </p:nvSpPr>
        <p:spPr>
          <a:xfrm>
            <a:off x="5224241" y="5484062"/>
            <a:ext cx="674679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1955075" y="4932620"/>
            <a:ext cx="2791149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50" b="0" dirty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* </a:t>
            </a:r>
            <a:r>
              <a:rPr lang="ko-KR" altLang="en-US" sz="1050" b="0" smtClean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기존에는 </a:t>
            </a:r>
            <a:r>
              <a:rPr lang="ko-KR" altLang="en-US" sz="1050" b="0" dirty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두 가지 </a:t>
            </a:r>
            <a:r>
              <a:rPr lang="en-US" altLang="ko-KR" sz="1050" b="0" dirty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ype</a:t>
            </a:r>
            <a:r>
              <a:rPr lang="ko-KR" altLang="en-US" sz="1050" b="0">
                <a:solidFill>
                  <a:srgbClr val="0066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을 모두 학습에 포함 시킴</a:t>
            </a:r>
            <a:endParaRPr lang="en-US" altLang="ko-KR" sz="1050" b="0" dirty="0">
              <a:solidFill>
                <a:srgbClr val="0066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223361" y="5146957"/>
            <a:ext cx="2917786" cy="11588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같은 설비에서 나오는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이지만 </a:t>
            </a:r>
            <a:endParaRPr lang="en-US" altLang="ko-KR" sz="16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서로 다른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로 보고 구분하여 </a:t>
            </a:r>
            <a:endParaRPr lang="en-US" altLang="ko-KR" sz="16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odeling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및 확인 예정</a:t>
            </a:r>
            <a:endParaRPr lang="ko-KR" altLang="en-US" sz="160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6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4088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645113"/>
            <a:ext cx="40511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odel Overfitting Issue – Concept </a:t>
            </a:r>
            <a:r>
              <a:rPr lang="ko-KR" altLang="en-US" b="1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</a:t>
            </a:r>
            <a:endParaRPr lang="ko-KR" altLang="en-US" b="1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1309008" y="2054320"/>
            <a:ext cx="1756652" cy="1354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al-time</a:t>
            </a:r>
          </a:p>
          <a:p>
            <a:pPr algn="ctr"/>
            <a:r>
              <a:rPr lang="en-US" altLang="ko-KR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+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ep Align</a:t>
            </a:r>
          </a:p>
        </p:txBody>
      </p:sp>
      <p:sp>
        <p:nvSpPr>
          <p:cNvPr id="28" name="직사각형 27"/>
          <p:cNvSpPr/>
          <p:nvPr/>
        </p:nvSpPr>
        <p:spPr>
          <a:xfrm>
            <a:off x="4390913" y="2054320"/>
            <a:ext cx="1756652" cy="5944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al-time</a:t>
            </a:r>
          </a:p>
        </p:txBody>
      </p:sp>
      <p:sp>
        <p:nvSpPr>
          <p:cNvPr id="29" name="직사각형 28"/>
          <p:cNvSpPr/>
          <p:nvPr/>
        </p:nvSpPr>
        <p:spPr>
          <a:xfrm>
            <a:off x="4391677" y="2814378"/>
            <a:ext cx="1756652" cy="59449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ep Align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1556392" y="1677266"/>
            <a:ext cx="12618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존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Set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4638297" y="1677266"/>
            <a:ext cx="12618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Set</a:t>
            </a:r>
          </a:p>
        </p:txBody>
      </p:sp>
      <p:sp>
        <p:nvSpPr>
          <p:cNvPr id="33" name="오른쪽 화살표 32"/>
          <p:cNvSpPr/>
          <p:nvPr/>
        </p:nvSpPr>
        <p:spPr>
          <a:xfrm>
            <a:off x="3488586" y="2487109"/>
            <a:ext cx="478638" cy="621011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5" name="직선 화살표 연결선 34"/>
          <p:cNvCxnSpPr/>
          <p:nvPr/>
        </p:nvCxnSpPr>
        <p:spPr>
          <a:xfrm>
            <a:off x="6263885" y="2352258"/>
            <a:ext cx="577611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993584" y="2213067"/>
            <a:ext cx="16369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극한값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earching Model</a:t>
            </a:r>
            <a:endParaRPr lang="ko-KR" altLang="en-US" sz="120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39" name="직선 화살표 연결선 38"/>
          <p:cNvCxnSpPr/>
          <p:nvPr/>
        </p:nvCxnSpPr>
        <p:spPr>
          <a:xfrm>
            <a:off x="6263885" y="3108811"/>
            <a:ext cx="577611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993584" y="2969620"/>
            <a:ext cx="13179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xis Predict Model</a:t>
            </a:r>
            <a:endParaRPr lang="ko-KR" altLang="en-US" sz="120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74608" y="115142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 </a:t>
            </a:r>
            <a:r>
              <a:rPr lang="ko-KR" altLang="en-US" sz="18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구조 변경</a:t>
            </a:r>
            <a:endParaRPr lang="ko-KR" altLang="en-US" sz="18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4608" y="3779748"/>
            <a:ext cx="3935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 Scale </a:t>
            </a:r>
            <a:r>
              <a:rPr lang="ko-KR" altLang="en-US" sz="18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 </a:t>
            </a:r>
            <a:r>
              <a:rPr lang="en-US" altLang="ko-KR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– </a:t>
            </a:r>
            <a:r>
              <a:rPr lang="ko-KR" altLang="en-US" sz="18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새로운 </a:t>
            </a:r>
            <a:r>
              <a:rPr lang="en-US" altLang="ko-KR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 </a:t>
            </a:r>
            <a:r>
              <a:rPr lang="ko-KR" altLang="en-US" sz="18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유입 시</a:t>
            </a:r>
            <a:endParaRPr lang="ko-KR" altLang="en-US" sz="18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904251" y="5044160"/>
            <a:ext cx="1238682" cy="7672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</a:p>
        </p:txBody>
      </p:sp>
      <p:sp>
        <p:nvSpPr>
          <p:cNvPr id="44" name="직사각형 43"/>
          <p:cNvSpPr/>
          <p:nvPr/>
        </p:nvSpPr>
        <p:spPr>
          <a:xfrm>
            <a:off x="2073218" y="4283804"/>
            <a:ext cx="588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존</a:t>
            </a:r>
            <a:endParaRPr lang="en-US" altLang="ko-KR" sz="18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2579426" y="5044160"/>
            <a:ext cx="1238682" cy="7672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w</a:t>
            </a:r>
            <a:r>
              <a:rPr lang="ko-KR" altLang="en-US" sz="16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</a:p>
          <a:p>
            <a:pPr algn="ctr"/>
            <a:r>
              <a:rPr lang="ko-KR" altLang="en-US" sz="16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입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47" name="구부러진 연결선 46"/>
          <p:cNvCxnSpPr>
            <a:stCxn id="45" idx="2"/>
            <a:endCxn id="43" idx="2"/>
          </p:cNvCxnSpPr>
          <p:nvPr/>
        </p:nvCxnSpPr>
        <p:spPr>
          <a:xfrm rot="5400000">
            <a:off x="2361180" y="4973801"/>
            <a:ext cx="12700" cy="1675175"/>
          </a:xfrm>
          <a:prstGeom prst="curvedConnector3">
            <a:avLst>
              <a:gd name="adj1" fmla="val 4500016"/>
            </a:avLst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2427501" y="5924640"/>
            <a:ext cx="15552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 smtClean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New Data Only Scaling</a:t>
            </a:r>
            <a:endParaRPr lang="ko-KR" altLang="en-US" sz="1200" dirty="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3" name="오른쪽 화살표 52"/>
          <p:cNvSpPr/>
          <p:nvPr/>
        </p:nvSpPr>
        <p:spPr>
          <a:xfrm>
            <a:off x="4192394" y="5058244"/>
            <a:ext cx="478638" cy="621011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직사각형 53"/>
          <p:cNvSpPr/>
          <p:nvPr/>
        </p:nvSpPr>
        <p:spPr>
          <a:xfrm>
            <a:off x="5025008" y="5026546"/>
            <a:ext cx="1065223" cy="7672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</a:p>
        </p:txBody>
      </p:sp>
      <p:sp>
        <p:nvSpPr>
          <p:cNvPr id="55" name="직사각형 54"/>
          <p:cNvSpPr/>
          <p:nvPr/>
        </p:nvSpPr>
        <p:spPr>
          <a:xfrm>
            <a:off x="6860675" y="4283804"/>
            <a:ext cx="588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8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변경</a:t>
            </a:r>
            <a:endParaRPr lang="en-US" altLang="ko-KR" sz="18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6535646" y="4797152"/>
            <a:ext cx="1238682" cy="48515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w</a:t>
            </a:r>
            <a:r>
              <a:rPr lang="ko-KR" altLang="en-US" sz="16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</a:p>
          <a:p>
            <a:pPr algn="ctr"/>
            <a:r>
              <a:rPr lang="ko-KR" altLang="en-US" sz="16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유입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468716" y="6165304"/>
            <a:ext cx="14366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cale Factor Update</a:t>
            </a:r>
            <a:endParaRPr lang="ko-KR" altLang="en-US" sz="1200" dirty="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535646" y="5555932"/>
            <a:ext cx="1238682" cy="672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odel </a:t>
            </a:r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학습 시</a:t>
            </a:r>
            <a:endParaRPr lang="en-US" altLang="ko-KR" sz="14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사용된 </a:t>
            </a:r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endParaRPr lang="en-US" altLang="ko-KR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7000938" y="5212062"/>
            <a:ext cx="3080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+</a:t>
            </a:r>
            <a:endParaRPr lang="en-US" altLang="ko-KR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1" name="직사각형 60"/>
          <p:cNvSpPr/>
          <p:nvPr/>
        </p:nvSpPr>
        <p:spPr>
          <a:xfrm>
            <a:off x="8239619" y="5026547"/>
            <a:ext cx="1093015" cy="76722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New</a:t>
            </a:r>
            <a:r>
              <a:rPr lang="ko-KR" altLang="en-US" sz="16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endParaRPr lang="en-US" altLang="ko-KR" sz="16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3" name="오른쪽 화살표 62"/>
          <p:cNvSpPr/>
          <p:nvPr/>
        </p:nvSpPr>
        <p:spPr>
          <a:xfrm>
            <a:off x="7897029" y="5172413"/>
            <a:ext cx="219888" cy="392675"/>
          </a:xfrm>
          <a:prstGeom prst="rightArrow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16" name="꺾인 연결선 115"/>
          <p:cNvCxnSpPr>
            <a:stCxn id="61" idx="3"/>
            <a:endCxn id="54" idx="2"/>
          </p:cNvCxnSpPr>
          <p:nvPr/>
        </p:nvCxnSpPr>
        <p:spPr>
          <a:xfrm flipH="1">
            <a:off x="5557620" y="5410161"/>
            <a:ext cx="3775014" cy="383613"/>
          </a:xfrm>
          <a:prstGeom prst="bentConnector4">
            <a:avLst>
              <a:gd name="adj1" fmla="val -6056"/>
              <a:gd name="adj2" fmla="val 320488"/>
            </a:avLst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/>
          <p:cNvSpPr txBox="1"/>
          <p:nvPr/>
        </p:nvSpPr>
        <p:spPr>
          <a:xfrm>
            <a:off x="8239619" y="5748707"/>
            <a:ext cx="13516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200" dirty="0" smtClean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caling to</a:t>
            </a:r>
            <a:r>
              <a:rPr lang="en-US" altLang="ko-KR" sz="1200" dirty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endParaRPr lang="en-US" altLang="ko-KR" sz="1200" dirty="0" smtClean="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/>
            <a:r>
              <a:rPr lang="en-US" altLang="ko-KR" sz="1200" dirty="0" smtClean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Update </a:t>
            </a:r>
            <a:r>
              <a:rPr lang="en-US" altLang="ko-KR" sz="1200" dirty="0">
                <a:solidFill>
                  <a:srgbClr val="0000FF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scale factor</a:t>
            </a:r>
            <a:endParaRPr lang="ko-KR" altLang="en-US" sz="1200" dirty="0">
              <a:solidFill>
                <a:srgbClr val="0000FF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4984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3"/>
          <a:srcRect l="23355" t="10259"/>
          <a:stretch/>
        </p:blipFill>
        <p:spPr>
          <a:xfrm>
            <a:off x="613143" y="1631326"/>
            <a:ext cx="5714050" cy="1657501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4"/>
          <a:srcRect l="15892" r="801"/>
          <a:stretch/>
        </p:blipFill>
        <p:spPr>
          <a:xfrm>
            <a:off x="613143" y="3719558"/>
            <a:ext cx="5714049" cy="18569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437868" y="1511142"/>
            <a:ext cx="922047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ko-KR" sz="1600" b="0" dirty="0" smtClean="0">
                <a:solidFill>
                  <a:srgbClr val="FF0000"/>
                </a:solidFill>
                <a:latin typeface="Arial Narrow" panose="020B0606020202030204" pitchFamily="34" charset="0"/>
                <a:cs typeface="Arial" pitchFamily="34" charset="0"/>
              </a:rPr>
              <a:t>--- Predict</a:t>
            </a:r>
          </a:p>
          <a:p>
            <a:r>
              <a:rPr lang="en-US" altLang="ko-KR" sz="1600" b="0" dirty="0" smtClean="0">
                <a:solidFill>
                  <a:srgbClr val="0000FF"/>
                </a:solidFill>
                <a:latin typeface="Arial Narrow" panose="020B0606020202030204" pitchFamily="34" charset="0"/>
                <a:cs typeface="Arial" pitchFamily="34" charset="0"/>
              </a:rPr>
              <a:t>--- Real</a:t>
            </a:r>
            <a:endParaRPr lang="ko-KR" altLang="en-US" sz="1600" b="0" dirty="0">
              <a:solidFill>
                <a:srgbClr val="0000FF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645113"/>
            <a:ext cx="4980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odel Overfitting </a:t>
            </a:r>
            <a:r>
              <a:rPr lang="en-US" altLang="ko-KR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ssue – Concept </a:t>
            </a:r>
            <a:r>
              <a:rPr lang="ko-KR" altLang="en-US" b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변경 후</a:t>
            </a:r>
            <a:r>
              <a:rPr lang="en-US" altLang="ko-KR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Test</a:t>
            </a:r>
            <a:endParaRPr lang="ko-KR" altLang="en-US" b="1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1130" y="2669864"/>
            <a:ext cx="792088" cy="551633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00867" y="1404000"/>
            <a:ext cx="19960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- Concept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 전 결과</a:t>
            </a:r>
            <a:endParaRPr lang="en-US" altLang="ko-KR" sz="16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0867" y="3431526"/>
            <a:ext cx="19960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- Concept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 후 결과</a:t>
            </a:r>
            <a:endParaRPr lang="en-US" altLang="ko-KR" sz="1600" dirty="0" smtClean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6321152" y="2221327"/>
            <a:ext cx="11320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ccuracy</a:t>
            </a:r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2618" y="4846780"/>
            <a:ext cx="792088" cy="562127"/>
          </a:xfrm>
          <a:prstGeom prst="rect">
            <a:avLst/>
          </a:prstGeom>
        </p:spPr>
      </p:pic>
      <p:sp>
        <p:nvSpPr>
          <p:cNvPr id="27" name="직사각형 26"/>
          <p:cNvSpPr/>
          <p:nvPr/>
        </p:nvSpPr>
        <p:spPr>
          <a:xfrm>
            <a:off x="6334070" y="4397420"/>
            <a:ext cx="11320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ccuracy</a:t>
            </a:r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0867" y="5923328"/>
            <a:ext cx="68823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Concept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변경 후</a:t>
            </a:r>
            <a:r>
              <a:rPr lang="en-US" altLang="ko-KR" sz="160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Acc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대폭 상승 확인됨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en-US" altLang="ko-KR" sz="1600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   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추가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 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후 성능 지속된다면 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Object Function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으로 사용 가능 할 것으로 보임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  <a:r>
              <a:rPr lang="ko-KR" altLang="en-US" sz="160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endParaRPr lang="ko-KR" altLang="en-US" sz="1600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" name="아래쪽 화살표 6"/>
          <p:cNvSpPr/>
          <p:nvPr/>
        </p:nvSpPr>
        <p:spPr>
          <a:xfrm>
            <a:off x="6644856" y="3461729"/>
            <a:ext cx="484632" cy="722112"/>
          </a:xfrm>
          <a:prstGeom prst="downArrow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02702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Hill Climbing Algorithm in A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200" y="1046961"/>
            <a:ext cx="4502433" cy="203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직사각형 22"/>
          <p:cNvSpPr/>
          <p:nvPr/>
        </p:nvSpPr>
        <p:spPr>
          <a:xfrm>
            <a:off x="94915" y="470621"/>
            <a:ext cx="4953000" cy="41344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</a:rPr>
              <a:t>Optimizer – hill climbing optimization</a:t>
            </a:r>
            <a:endParaRPr lang="ko-KR" altLang="en-US" b="1" dirty="0"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976771" y="1411027"/>
            <a:ext cx="44518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확한 수식을 알 수 없는 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unction</a:t>
            </a:r>
            <a:r>
              <a:rPr lang="ko-KR" altLang="en-US" sz="12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ximum Value</a:t>
            </a:r>
            <a:r>
              <a:rPr lang="ko-KR" altLang="en-US" sz="12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찾아내는</a:t>
            </a:r>
            <a:endParaRPr lang="en-US" altLang="ko-KR" sz="12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Machine Learning </a:t>
            </a:r>
            <a:r>
              <a:rPr lang="ko-KR" altLang="en-US" sz="12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최적화 알고리즘 </a:t>
            </a:r>
            <a:endParaRPr lang="ko-KR" altLang="en-US" sz="120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38000" y="3024000"/>
            <a:ext cx="9073008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TF Align Test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서 찾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xima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실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lobal Maxima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맞는지 확인하기 위한 방법이 필요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- 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학습된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ocus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측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bjective Function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사용하여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ROI(0,5,10,-5,-10)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lobal Maxima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확인함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2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- 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X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Y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Z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U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V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200" b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W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Axis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Boundary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실제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est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진행 시 사용된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in ~ Max Position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설정 뒤 알고리즘 적용함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sz="1200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62535" y="4086536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OVX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인 결과</a:t>
            </a:r>
            <a:endParaRPr lang="ko-KR" altLang="en-US" sz="140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5" name="그림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013" y="4362336"/>
            <a:ext cx="1962319" cy="1471739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477" y="4384834"/>
            <a:ext cx="1975939" cy="1481954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692" y="4384834"/>
            <a:ext cx="2054062" cy="1540547"/>
          </a:xfrm>
          <a:prstGeom prst="rect">
            <a:avLst/>
          </a:prstGeom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55" y="4362337"/>
            <a:ext cx="2094528" cy="1570896"/>
          </a:xfrm>
          <a:prstGeom prst="rect">
            <a:avLst/>
          </a:prstGeom>
        </p:spPr>
      </p:pic>
      <p:pic>
        <p:nvPicPr>
          <p:cNvPr id="39" name="그림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23" y="4356865"/>
            <a:ext cx="2055532" cy="1541649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131187" y="5895188"/>
            <a:ext cx="70540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OVX 5deg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서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ximum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 되는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xis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적용하였을 때 대칭구조가 확인됨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으로는 확인이 되지만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제 구동시 값을 적용했을 때 같은 결과가 나오는 지 확인 필요함</a:t>
            </a:r>
            <a:r>
              <a:rPr lang="en-US" altLang="ko-KR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200" b="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b="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-&gt;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비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프로그램내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 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알고리즘 적용하여 확인 예정</a:t>
            </a:r>
            <a:endParaRPr lang="ko-KR" altLang="en-US" sz="1200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388073" y="4300937"/>
            <a:ext cx="6078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ko-KR" dirty="0" smtClean="0">
                <a:solidFill>
                  <a:srgbClr val="FF0000"/>
                </a:solidFill>
              </a:rPr>
              <a:t> </a:t>
            </a: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181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74649" y="533108"/>
            <a:ext cx="2877409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altLang="ko-KR" b="1" dirty="0" smtClean="0">
                <a:latin typeface="Arial Narrow" panose="020B0606020202030204" pitchFamily="34" charset="0"/>
              </a:rPr>
              <a:t>MTF ML Service Concept</a:t>
            </a:r>
            <a:endParaRPr lang="ko-KR" altLang="en-US" b="1" dirty="0">
              <a:latin typeface="Arial Narrow" panose="020B0606020202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76769" y="4004446"/>
            <a:ext cx="19944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Arial Narrow" panose="020B0606020202030204" pitchFamily="34" charset="0"/>
                <a:cs typeface="Arial" pitchFamily="34" charset="0"/>
              </a:rPr>
              <a:t>FastAPI </a:t>
            </a:r>
            <a:r>
              <a:rPr lang="ko-KR" altLang="en-US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적용 예시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3957" y="3804391"/>
            <a:ext cx="12378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dirty="0" smtClean="0">
                <a:latin typeface="Arial Narrow" panose="020B0606020202030204" pitchFamily="34" charset="0"/>
                <a:cs typeface="Arial" pitchFamily="34" charset="0"/>
              </a:rPr>
              <a:t>C++ (MFC)</a:t>
            </a:r>
            <a:endParaRPr lang="ko-KR" altLang="en-US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42911" y="2604746"/>
            <a:ext cx="8386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600" dirty="0" smtClean="0">
                <a:latin typeface="Arial Narrow" panose="020B0606020202030204" pitchFamily="34" charset="0"/>
                <a:cs typeface="Arial" pitchFamily="34" charset="0"/>
              </a:rPr>
              <a:t>Backend</a:t>
            </a:r>
            <a:endParaRPr lang="ko-KR" altLang="en-US" sz="16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8" name="정육면체 7"/>
          <p:cNvSpPr/>
          <p:nvPr/>
        </p:nvSpPr>
        <p:spPr>
          <a:xfrm>
            <a:off x="299678" y="2478602"/>
            <a:ext cx="1993833" cy="1325789"/>
          </a:xfrm>
          <a:prstGeom prst="cube">
            <a:avLst>
              <a:gd name="adj" fmla="val 24165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설비</a:t>
            </a:r>
            <a:endParaRPr lang="en-US" altLang="ko-KR" dirty="0" smtClean="0">
              <a:solidFill>
                <a:schemeClr val="tx1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PC</a:t>
            </a:r>
            <a:endParaRPr lang="en-US" altLang="ko-KR" dirty="0">
              <a:solidFill>
                <a:schemeClr val="tx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1" name="정육면체 10"/>
          <p:cNvSpPr/>
          <p:nvPr/>
        </p:nvSpPr>
        <p:spPr>
          <a:xfrm>
            <a:off x="2551149" y="1567881"/>
            <a:ext cx="1222216" cy="1007245"/>
          </a:xfrm>
          <a:prstGeom prst="cube">
            <a:avLst>
              <a:gd name="adj" fmla="val 16095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  <a:latin typeface="Arial Narrow" panose="020B0606020202030204" pitchFamily="34" charset="0"/>
              </a:rPr>
              <a:t>ML</a:t>
            </a:r>
          </a:p>
          <a:p>
            <a:pPr algn="ctr"/>
            <a:r>
              <a:rPr lang="en-US" altLang="ko-KR" sz="1600" dirty="0">
                <a:solidFill>
                  <a:schemeClr val="tx1"/>
                </a:solidFill>
                <a:latin typeface="Arial Narrow" panose="020B0606020202030204" pitchFamily="34" charset="0"/>
              </a:rPr>
              <a:t>Model &amp; Optimiz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06243" y="1910754"/>
            <a:ext cx="1164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Arial Narrow" panose="020B0606020202030204" pitchFamily="34" charset="0"/>
                <a:cs typeface="Arial" pitchFamily="34" charset="0"/>
              </a:rPr>
              <a:t>Use FastAPI</a:t>
            </a:r>
            <a:endParaRPr lang="ko-KR" altLang="en-US" sz="16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2" name="원호 11"/>
          <p:cNvSpPr/>
          <p:nvPr/>
        </p:nvSpPr>
        <p:spPr>
          <a:xfrm rot="19430407">
            <a:off x="1169306" y="1650100"/>
            <a:ext cx="1667143" cy="936127"/>
          </a:xfrm>
          <a:prstGeom prst="arc">
            <a:avLst>
              <a:gd name="adj1" fmla="val 11341794"/>
              <a:gd name="adj2" fmla="val 0"/>
            </a:avLst>
          </a:prstGeom>
          <a:ln w="3175">
            <a:solidFill>
              <a:srgbClr val="00B0F0"/>
            </a:solidFill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 rot="1443957">
            <a:off x="1711481" y="1313274"/>
            <a:ext cx="9909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dirty="0" smtClean="0">
                <a:latin typeface="Arial Narrow" panose="020B0606020202030204" pitchFamily="34" charset="0"/>
                <a:cs typeface="Arial" pitchFamily="34" charset="0"/>
              </a:rPr>
              <a:t>Initial value</a:t>
            </a:r>
            <a:endParaRPr lang="ko-KR" altLang="en-US" sz="14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76179" y="2080031"/>
            <a:ext cx="13163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dirty="0" smtClean="0">
                <a:latin typeface="Arial Narrow" panose="020B0606020202030204" pitchFamily="34" charset="0"/>
                <a:cs typeface="Arial" pitchFamily="34" charset="0"/>
              </a:rPr>
              <a:t>Optimized </a:t>
            </a:r>
            <a:r>
              <a:rPr lang="en-US" altLang="ko-KR" sz="1400" dirty="0">
                <a:latin typeface="Arial Narrow" panose="020B0606020202030204" pitchFamily="34" charset="0"/>
                <a:cs typeface="Arial" pitchFamily="34" charset="0"/>
              </a:rPr>
              <a:t>value</a:t>
            </a:r>
            <a:endParaRPr lang="ko-KR" altLang="en-US" sz="1400">
              <a:latin typeface="Arial Narrow" panose="020B0606020202030204" pitchFamily="34" charset="0"/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8876" y="1530706"/>
            <a:ext cx="4330245" cy="222977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365161" y="4198890"/>
            <a:ext cx="21895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ML Service Concept</a:t>
            </a:r>
            <a:endParaRPr lang="ko-KR" altLang="en-US" dirty="0"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9678" y="4777903"/>
            <a:ext cx="6510115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가장 효율적으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achine Learning Function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적용할 수 있는 방법을 활용하고자 함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Backend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에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ata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처리 및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odel Update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진행하므로 공정에 영향을 주지 않음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>
              <a:lnSpc>
                <a:spcPct val="200000"/>
              </a:lnSpc>
            </a:pP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     -   Resource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절약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marL="342900" indent="-34290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실시간으로 처리된 값 적용 가능 </a:t>
            </a:r>
            <a:endParaRPr lang="en-US" altLang="ko-KR" sz="1400" dirty="0" smtClean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8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ML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065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25"/>
          <p:cNvSpPr>
            <a:spLocks noChangeArrowheads="1"/>
          </p:cNvSpPr>
          <p:nvPr/>
        </p:nvSpPr>
        <p:spPr bwMode="auto">
          <a:xfrm>
            <a:off x="320451" y="615593"/>
            <a:ext cx="820241" cy="40121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개요 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auto">
          <a:xfrm>
            <a:off x="318002" y="1152882"/>
            <a:ext cx="820241" cy="49908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ain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oint</a:t>
            </a:r>
          </a:p>
        </p:txBody>
      </p:sp>
      <p:sp>
        <p:nvSpPr>
          <p:cNvPr id="83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9966" y="1182307"/>
            <a:ext cx="7810471" cy="344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OLED 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물류 </a:t>
            </a:r>
            <a:r>
              <a:rPr lang="ko-KR" altLang="en-US" sz="1200" dirty="0" smtClean="0">
                <a:latin typeface="Arial Narrow" pitchFamily="34" charset="0"/>
                <a:ea typeface="LG스마트체 Regular" pitchFamily="50" charset="-127"/>
              </a:rPr>
              <a:t>설비의 </a:t>
            </a:r>
            <a:r>
              <a:rPr lang="ko-KR" altLang="en-US" sz="1200" dirty="0">
                <a:latin typeface="Arial Narrow" pitchFamily="34" charset="0"/>
                <a:ea typeface="LG스마트체 Regular" pitchFamily="50" charset="-127"/>
              </a:rPr>
              <a:t>전</a:t>
            </a:r>
            <a:r>
              <a:rPr lang="en-US" altLang="ko-KR" sz="1200" dirty="0"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sz="1200">
                <a:latin typeface="Arial Narrow" pitchFamily="34" charset="0"/>
                <a:ea typeface="LG스마트체 Regular" pitchFamily="50" charset="-127"/>
              </a:rPr>
              <a:t>후 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떨림이 </a:t>
            </a:r>
            <a:r>
              <a:rPr lang="ko-KR" altLang="en-US" sz="1200">
                <a:latin typeface="Arial Narrow" pitchFamily="34" charset="0"/>
                <a:ea typeface="LG스마트체 Regular" pitchFamily="50" charset="-127"/>
              </a:rPr>
              <a:t>상</a:t>
            </a:r>
            <a:r>
              <a:rPr lang="en-US" altLang="ko-KR" sz="1200" dirty="0"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sz="1200">
                <a:latin typeface="Arial Narrow" pitchFamily="34" charset="0"/>
                <a:ea typeface="LG스마트체 Regular" pitchFamily="50" charset="-127"/>
              </a:rPr>
              <a:t>하 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떨림에 영향을 미쳐 공정 </a:t>
            </a:r>
            <a:r>
              <a:rPr lang="en-US" altLang="ko-KR" sz="1200" dirty="0" smtClean="0">
                <a:latin typeface="Arial Narrow" pitchFamily="34" charset="0"/>
                <a:ea typeface="LG스마트체 Regular" pitchFamily="50" charset="-127"/>
              </a:rPr>
              <a:t>Fail </a:t>
            </a:r>
            <a:r>
              <a:rPr lang="ko-KR" altLang="en-US" sz="1200" smtClean="0">
                <a:latin typeface="Arial Narrow" pitchFamily="34" charset="0"/>
                <a:ea typeface="LG스마트체 Regular" pitchFamily="50" charset="-127"/>
              </a:rPr>
              <a:t>확률이 높아 진다는 고객사 의견 </a:t>
            </a:r>
            <a:endParaRPr lang="en-US" altLang="ko-KR" sz="1200" dirty="0" smtClean="0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87" name="Rectangle 23"/>
          <p:cNvSpPr>
            <a:spLocks noChangeArrowheads="1"/>
          </p:cNvSpPr>
          <p:nvPr/>
        </p:nvSpPr>
        <p:spPr bwMode="auto">
          <a:xfrm>
            <a:off x="1335440" y="2594977"/>
            <a:ext cx="1145896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Data</a:t>
            </a:r>
            <a:r>
              <a:rPr lang="ko-KR" altLang="en-US" sz="1100" ker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</a:t>
            </a:r>
            <a:r>
              <a:rPr lang="ko-KR" altLang="en-US" sz="1100" kern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수집 및</a:t>
            </a:r>
            <a:endParaRPr lang="en-US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전처리</a:t>
            </a:r>
            <a:endParaRPr lang="ko-KR" altLang="ko-KR" sz="1100" kern="0" dirty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88" name="Rectangle 23"/>
          <p:cNvSpPr>
            <a:spLocks noChangeArrowheads="1"/>
          </p:cNvSpPr>
          <p:nvPr/>
        </p:nvSpPr>
        <p:spPr bwMode="auto">
          <a:xfrm>
            <a:off x="2821130" y="2594977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설</a:t>
            </a:r>
            <a:r>
              <a:rPr lang="ko-KR" altLang="en-US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비 조건 별</a:t>
            </a:r>
            <a:endParaRPr lang="en-US" altLang="ko-KR" sz="1100" kern="0" dirty="0" smtClean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구동 </a:t>
            </a:r>
            <a:r>
              <a:rPr lang="en-US" altLang="ko-KR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Test </a:t>
            </a:r>
            <a:r>
              <a:rPr lang="ko-KR" altLang="en-US" sz="1100" kern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진행</a:t>
            </a:r>
            <a:endParaRPr lang="en-US" altLang="ko-KR" sz="1100" kern="0" dirty="0" smtClean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3" name="Rectangle 23"/>
          <p:cNvSpPr>
            <a:spLocks noChangeArrowheads="1"/>
          </p:cNvSpPr>
          <p:nvPr/>
        </p:nvSpPr>
        <p:spPr bwMode="auto">
          <a:xfrm>
            <a:off x="4301401" y="2594977"/>
            <a:ext cx="1140477" cy="4809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>
            <a:lvl1pPr marL="180975" indent="-180975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kumimoji="1" sz="10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en-US" altLang="ko-KR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Data </a:t>
            </a:r>
            <a:r>
              <a:rPr lang="ko-KR" altLang="en-US" sz="1100" kern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분석</a:t>
            </a:r>
            <a:r>
              <a:rPr lang="en-US" altLang="ko-KR" sz="1100" kern="0" dirty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 </a:t>
            </a:r>
            <a:r>
              <a:rPr lang="ko-KR" altLang="en-US" sz="1100" kern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및</a:t>
            </a:r>
            <a:endParaRPr lang="en-US" altLang="ko-KR" sz="1100" kern="0" dirty="0" smtClean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  <a:p>
            <a:pPr algn="ctr" eaLnBrk="1" fontAlgn="base" latinLnBrk="0" hangingPunct="1"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ko-KR" altLang="en-US" sz="1100" kern="0" dirty="0" smtClean="0">
                <a:solidFill>
                  <a:prstClr val="black"/>
                </a:solidFill>
                <a:latin typeface="+mj-lt"/>
                <a:ea typeface="LG스마트체 Regular" panose="020B0600000101010101" pitchFamily="50" charset="-127"/>
              </a:rPr>
              <a:t>증명</a:t>
            </a:r>
            <a:endParaRPr lang="en-US" altLang="ko-KR" sz="1100" kern="0" dirty="0" smtClean="0">
              <a:solidFill>
                <a:prstClr val="black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97" name="오른쪽 화살표 96"/>
          <p:cNvSpPr/>
          <p:nvPr/>
        </p:nvSpPr>
        <p:spPr>
          <a:xfrm>
            <a:off x="1335440" y="2760669"/>
            <a:ext cx="4106438" cy="167473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923" b="1" dirty="0">
              <a:solidFill>
                <a:srgbClr val="FF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66" name="Rectangle 25"/>
          <p:cNvSpPr>
            <a:spLocks noChangeArrowheads="1"/>
          </p:cNvSpPr>
          <p:nvPr/>
        </p:nvSpPr>
        <p:spPr bwMode="auto">
          <a:xfrm>
            <a:off x="318001" y="1788045"/>
            <a:ext cx="820241" cy="54618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 smtClean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목적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67" name="Rectangle 25"/>
          <p:cNvSpPr>
            <a:spLocks noChangeArrowheads="1"/>
          </p:cNvSpPr>
          <p:nvPr/>
        </p:nvSpPr>
        <p:spPr bwMode="auto">
          <a:xfrm>
            <a:off x="318001" y="2470307"/>
            <a:ext cx="820241" cy="74030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oad</a:t>
            </a:r>
          </a:p>
          <a:p>
            <a:pPr algn="ctr" eaLnBrk="0" latinLnBrk="0" hangingPunct="0">
              <a:defRPr/>
            </a:pPr>
            <a:r>
              <a:rPr lang="en-US" altLang="ko-KR" sz="13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Map</a:t>
            </a:r>
          </a:p>
        </p:txBody>
      </p:sp>
      <p:sp>
        <p:nvSpPr>
          <p:cNvPr id="70" name="Rectangle 25"/>
          <p:cNvSpPr>
            <a:spLocks noChangeArrowheads="1"/>
          </p:cNvSpPr>
          <p:nvPr/>
        </p:nvSpPr>
        <p:spPr bwMode="auto">
          <a:xfrm>
            <a:off x="318000" y="3346687"/>
            <a:ext cx="820241" cy="3281771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>
              <a:defRPr/>
            </a:pPr>
            <a:r>
              <a:rPr lang="ko-KR" altLang="en-US" sz="1300" b="1" dirty="0" smtClean="0">
                <a:solidFill>
                  <a:srgbClr val="000000"/>
                </a:solidFill>
                <a:latin typeface="+mj-lt"/>
                <a:ea typeface="LG스마트체 Regular" panose="020B0600000101010101" pitchFamily="50" charset="-127"/>
              </a:rPr>
              <a:t>접근법</a:t>
            </a:r>
            <a:endParaRPr lang="en-US" altLang="ko-KR" sz="1300" b="1" dirty="0">
              <a:solidFill>
                <a:srgbClr val="000000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148" name="Text Box 125">
            <a:hlinkClick r:id="" action="ppaction://noaction"/>
          </p:cNvPr>
          <p:cNvSpPr txBox="1">
            <a:spLocks noChangeArrowheads="1"/>
          </p:cNvSpPr>
          <p:nvPr/>
        </p:nvSpPr>
        <p:spPr bwMode="auto">
          <a:xfrm>
            <a:off x="1258199" y="1929968"/>
            <a:ext cx="6486324" cy="25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231" tIns="33231" rIns="33231" bIns="33231">
            <a:spAutoFit/>
          </a:bodyPr>
          <a:lstStyle>
            <a:defPPr>
              <a:defRPr lang="ko-KR"/>
            </a:defPPr>
            <a:lvl1pPr marL="0" marR="0" lvl="0" indent="0" defTabSz="958850" eaLnBrk="1" latin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 kumimoji="1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defRPr>
            </a:lvl1pPr>
          </a:lstStyle>
          <a:p>
            <a:pPr marL="90488" indent="-90488" fontAlgn="t">
              <a:buFont typeface="Wingdings" panose="05000000000000000000" pitchFamily="2" charset="2"/>
              <a:buChar char="§"/>
              <a:defRPr/>
            </a:pPr>
            <a:r>
              <a:rPr lang="ko-KR" altLang="en-US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정 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ail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은 설비 전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200" b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떨림의 영향이 아닌 해당 설비 외 인자라는 것을 증명해야함</a:t>
            </a:r>
            <a:r>
              <a:rPr lang="en-US" altLang="ko-KR" sz="1200" b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en-US" altLang="ko-KR" sz="1200" b="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9" name="Rectangle 17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18754" y="696438"/>
            <a:ext cx="746473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620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OLED </a:t>
            </a:r>
            <a:r>
              <a:rPr lang="ko-KR" altLang="en-US" sz="16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물류 </a:t>
            </a:r>
            <a:r>
              <a:rPr lang="ko-KR" altLang="en-US" sz="16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설비 전</a:t>
            </a:r>
            <a:r>
              <a:rPr lang="en-US" altLang="ko-KR" sz="16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sz="16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후 관성에 따른 상</a:t>
            </a:r>
            <a:r>
              <a:rPr lang="en-US" altLang="ko-KR" sz="1600" b="1" dirty="0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/</a:t>
            </a:r>
            <a:r>
              <a:rPr lang="ko-KR" altLang="en-US" sz="1600" b="1" smtClean="0">
                <a:solidFill>
                  <a:srgbClr val="000000"/>
                </a:solidFill>
                <a:latin typeface="Arial Narrow" pitchFamily="34" charset="0"/>
                <a:ea typeface="LG스마트체 Regular" pitchFamily="50" charset="-127"/>
              </a:rPr>
              <a:t>하 떨림 량 비교 분석</a:t>
            </a:r>
            <a:endParaRPr lang="ko-KR" altLang="en-US" sz="1600" b="1" dirty="0">
              <a:solidFill>
                <a:srgbClr val="000000"/>
              </a:solidFill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73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3. </a:t>
            </a:r>
            <a:r>
              <a:rPr lang="en-US" altLang="ko-KR" sz="20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OLED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물류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설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후 흔들림 양에 따른 상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하 떨림 량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비교 분석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4" name="직사각형 63"/>
          <p:cNvSpPr>
            <a:spLocks noChangeArrowheads="1"/>
          </p:cNvSpPr>
          <p:nvPr/>
        </p:nvSpPr>
        <p:spPr bwMode="auto">
          <a:xfrm>
            <a:off x="1357272" y="3506861"/>
            <a:ext cx="4343305" cy="379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▣ Step1. Test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전 물류 </a:t>
            </a:r>
            <a:r>
              <a:rPr lang="ko-KR" altLang="en-US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설비 등속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~ </a:t>
            </a:r>
            <a:r>
              <a:rPr lang="ko-KR" altLang="en-US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정지 구간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구동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Data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분석</a:t>
            </a:r>
            <a:endParaRPr kumimoji="0"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맑은 고딕" pitchFamily="50" charset="-127"/>
              <a:cs typeface="LG스마트체 Regular" pitchFamily="50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1258199" y="5762503"/>
            <a:ext cx="5347604" cy="646216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위 그래프의 감속 시간이 짧을 수록</a:t>
            </a:r>
            <a:r>
              <a:rPr lang="en-US" altLang="ko-KR" sz="1200" b="1" dirty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기울기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가속도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9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나중속도</a:t>
            </a:r>
            <a:r>
              <a:rPr lang="en-US" altLang="ko-KR" sz="9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-</a:t>
            </a:r>
            <a:r>
              <a:rPr lang="ko-KR" altLang="en-US" sz="9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처음속도</a:t>
            </a:r>
            <a:r>
              <a:rPr lang="en-US" altLang="ko-KR" sz="9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9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걸린시간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가 커진다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실험 전 가정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이 경우 관성에 의해 전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후 방향 흔들림 만이 발생할 것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</p:txBody>
      </p:sp>
      <p:grpSp>
        <p:nvGrpSpPr>
          <p:cNvPr id="80" name="그룹 79"/>
          <p:cNvGrpSpPr/>
          <p:nvPr/>
        </p:nvGrpSpPr>
        <p:grpSpPr>
          <a:xfrm>
            <a:off x="1531106" y="3993424"/>
            <a:ext cx="4012530" cy="1721049"/>
            <a:chOff x="148381" y="1185292"/>
            <a:chExt cx="3733183" cy="2016224"/>
          </a:xfrm>
        </p:grpSpPr>
        <p:grpSp>
          <p:nvGrpSpPr>
            <p:cNvPr id="82" name="그룹 81"/>
            <p:cNvGrpSpPr/>
            <p:nvPr/>
          </p:nvGrpSpPr>
          <p:grpSpPr>
            <a:xfrm>
              <a:off x="148381" y="1185292"/>
              <a:ext cx="3733183" cy="2016224"/>
              <a:chOff x="238518" y="747330"/>
              <a:chExt cx="3733183" cy="2057123"/>
            </a:xfrm>
          </p:grpSpPr>
          <p:pic>
            <p:nvPicPr>
              <p:cNvPr id="85" name="그림 8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51667" y="1001768"/>
                <a:ext cx="3310970" cy="1388354"/>
              </a:xfrm>
              <a:prstGeom prst="rect">
                <a:avLst/>
              </a:prstGeom>
            </p:spPr>
          </p:pic>
          <p:pic>
            <p:nvPicPr>
              <p:cNvPr id="86" name="그림 85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0" b="89623" l="0" r="89620">
                            <a14:foregroundMark x1="3544" y1="4245" x2="6329" y2="81132"/>
                            <a14:foregroundMark x1="5823" y1="76887" x2="11392" y2="80660"/>
                            <a14:backgroundMark x1="14684" y1="24057" x2="62532" y2="71698"/>
                          </a14:backgroundRemoval>
                        </a14:imgEffect>
                      </a14:imgLayer>
                    </a14:imgProps>
                  </a:ext>
                </a:extLst>
              </a:blip>
              <a:srcRect r="90605"/>
              <a:stretch/>
            </p:blipFill>
            <p:spPr>
              <a:xfrm>
                <a:off x="238518" y="747330"/>
                <a:ext cx="349310" cy="2057123"/>
              </a:xfrm>
              <a:prstGeom prst="rect">
                <a:avLst/>
              </a:prstGeom>
            </p:spPr>
          </p:pic>
          <p:cxnSp>
            <p:nvCxnSpPr>
              <p:cNvPr id="89" name="직선 연결선 88"/>
              <p:cNvCxnSpPr/>
              <p:nvPr/>
            </p:nvCxnSpPr>
            <p:spPr bwMode="auto">
              <a:xfrm>
                <a:off x="2908201" y="1193124"/>
                <a:ext cx="0" cy="1119348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" name="직선 연결선 89"/>
              <p:cNvCxnSpPr/>
              <p:nvPr/>
            </p:nvCxnSpPr>
            <p:spPr bwMode="auto">
              <a:xfrm>
                <a:off x="3640981" y="2204864"/>
                <a:ext cx="0" cy="97594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1" name="TextBox 90"/>
              <p:cNvSpPr txBox="1"/>
              <p:nvPr/>
            </p:nvSpPr>
            <p:spPr>
              <a:xfrm>
                <a:off x="2568077" y="926441"/>
                <a:ext cx="680247" cy="1988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감속 </a:t>
                </a:r>
                <a:r>
                  <a:rPr lang="en-US" altLang="ko-KR" sz="900" dirty="0" smtClean="0">
                    <a:latin typeface="Arial Narrow" panose="020B0606020202030204" pitchFamily="34" charset="0"/>
                    <a:ea typeface="LG스마트체 Regular" panose="020B0600000101010101" pitchFamily="50" charset="-127"/>
                  </a:rPr>
                  <a:t>Sensor</a:t>
                </a:r>
                <a:endParaRPr lang="ko-KR" altLang="en-US" sz="900" dirty="0" smtClean="0">
                  <a:latin typeface="Arial Narrow" panose="020B0606020202030204" pitchFamily="34" charset="0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3291454" y="1997612"/>
                <a:ext cx="680247" cy="1988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9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정지 </a:t>
                </a:r>
                <a:r>
                  <a:rPr lang="en-US" altLang="ko-KR" sz="900" dirty="0" smtClean="0">
                    <a:latin typeface="Arial Narrow" panose="020B0606020202030204" pitchFamily="34" charset="0"/>
                    <a:ea typeface="LG스마트체 Regular" panose="020B0600000101010101" pitchFamily="50" charset="-127"/>
                  </a:rPr>
                  <a:t>Sensor</a:t>
                </a:r>
                <a:endParaRPr lang="ko-KR" altLang="en-US" sz="900" dirty="0" smtClean="0">
                  <a:latin typeface="Arial Narrow" panose="020B0606020202030204" pitchFamily="34" charset="0"/>
                  <a:ea typeface="LG스마트체 Regular" panose="020B0600000101010101" pitchFamily="50" charset="-127"/>
                </a:endParaRPr>
              </a:p>
            </p:txBody>
          </p:sp>
          <p:cxnSp>
            <p:nvCxnSpPr>
              <p:cNvPr id="96" name="직선 화살표 연결선 95"/>
              <p:cNvCxnSpPr/>
              <p:nvPr/>
            </p:nvCxnSpPr>
            <p:spPr bwMode="auto">
              <a:xfrm>
                <a:off x="2908200" y="2207424"/>
                <a:ext cx="244600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  <p:sp>
            <p:nvSpPr>
              <p:cNvPr id="100" name="TextBox 99"/>
              <p:cNvSpPr txBox="1"/>
              <p:nvPr/>
            </p:nvSpPr>
            <p:spPr>
              <a:xfrm>
                <a:off x="2680391" y="2237290"/>
                <a:ext cx="644064" cy="22536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1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감속시간</a:t>
                </a:r>
              </a:p>
            </p:txBody>
          </p:sp>
          <p:cxnSp>
            <p:nvCxnSpPr>
              <p:cNvPr id="101" name="직선 연결선 100"/>
              <p:cNvCxnSpPr/>
              <p:nvPr/>
            </p:nvCxnSpPr>
            <p:spPr bwMode="auto">
              <a:xfrm>
                <a:off x="3178200" y="2196466"/>
                <a:ext cx="0" cy="120867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84" name="직사각형 83"/>
            <p:cNvSpPr/>
            <p:nvPr/>
          </p:nvSpPr>
          <p:spPr>
            <a:xfrm>
              <a:off x="1351519" y="2845250"/>
              <a:ext cx="960763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050" dirty="0" smtClean="0">
                  <a:latin typeface="Arial Narrow" panose="020B0606020202030204" pitchFamily="34" charset="0"/>
                  <a:ea typeface="LG스마트체 Regular" pitchFamily="50" charset="-127"/>
                  <a:cs typeface="LG스마트체 Regular" pitchFamily="50" charset="-127"/>
                </a:rPr>
                <a:t>설비</a:t>
              </a:r>
              <a:r>
                <a:rPr lang="en-US" altLang="ko-KR" sz="1050" dirty="0" smtClean="0">
                  <a:latin typeface="Arial Narrow" panose="020B0606020202030204" pitchFamily="34" charset="0"/>
                  <a:ea typeface="LG스마트체 Regular" pitchFamily="50" charset="-127"/>
                  <a:cs typeface="LG스마트체 Regular" pitchFamily="50" charset="-127"/>
                </a:rPr>
                <a:t> </a:t>
              </a:r>
              <a:r>
                <a:rPr lang="ko-KR" altLang="en-US" sz="1050" smtClean="0">
                  <a:latin typeface="Arial Narrow" panose="020B0606020202030204" pitchFamily="34" charset="0"/>
                  <a:ea typeface="LG스마트체 Regular" pitchFamily="50" charset="-127"/>
                  <a:cs typeface="LG스마트체 Regular" pitchFamily="50" charset="-127"/>
                </a:rPr>
                <a:t>구동 </a:t>
              </a:r>
              <a:r>
                <a:rPr lang="en-US" altLang="ko-KR" sz="1050" dirty="0" smtClean="0">
                  <a:latin typeface="Arial Narrow" panose="020B0606020202030204" pitchFamily="34" charset="0"/>
                </a:rPr>
                <a:t>Graph</a:t>
              </a:r>
              <a:endParaRPr lang="en-US" altLang="ko-KR" sz="1050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endParaRPr>
            </a:p>
          </p:txBody>
        </p:sp>
      </p:grpSp>
      <p:sp>
        <p:nvSpPr>
          <p:cNvPr id="29" name="모서리가 둥근 직사각형 28"/>
          <p:cNvSpPr/>
          <p:nvPr/>
        </p:nvSpPr>
        <p:spPr>
          <a:xfrm>
            <a:off x="1196967" y="2511373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  <p:sp>
        <p:nvSpPr>
          <p:cNvPr id="30" name="모서리가 둥근 직사각형 29"/>
          <p:cNvSpPr/>
          <p:nvPr/>
        </p:nvSpPr>
        <p:spPr>
          <a:xfrm>
            <a:off x="2704826" y="2512975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  <a:endParaRPr kumimoji="1" lang="ko-KR" altLang="en-US" sz="800" b="1" dirty="0">
              <a:solidFill>
                <a:prstClr val="white"/>
              </a:solidFill>
              <a:latin typeface="+mj-lt"/>
              <a:ea typeface="LG스마트체 Regular" panose="020B0600000101010101" pitchFamily="50" charset="-127"/>
            </a:endParaRPr>
          </a:p>
        </p:txBody>
      </p:sp>
      <p:sp>
        <p:nvSpPr>
          <p:cNvPr id="31" name="모서리가 둥근 직사각형 30"/>
          <p:cNvSpPr/>
          <p:nvPr/>
        </p:nvSpPr>
        <p:spPr>
          <a:xfrm>
            <a:off x="4212685" y="2508681"/>
            <a:ext cx="324795" cy="166450"/>
          </a:xfrm>
          <a:prstGeom prst="round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" tIns="3323" rIns="3323" bIns="332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800" b="1" dirty="0">
                <a:solidFill>
                  <a:prstClr val="white"/>
                </a:solidFill>
                <a:latin typeface="+mj-lt"/>
                <a:ea typeface="LG스마트체 Regular" panose="020B0600000101010101" pitchFamily="50" charset="-127"/>
              </a:rPr>
              <a:t>완료</a:t>
            </a:r>
          </a:p>
        </p:txBody>
      </p:sp>
    </p:spTree>
    <p:extLst>
      <p:ext uri="{BB962C8B-B14F-4D97-AF65-F5344CB8AC3E}">
        <p14:creationId xmlns:p14="http://schemas.microsoft.com/office/powerpoint/2010/main" val="220629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1</a:t>
            </a:r>
            <a:r>
              <a:rPr lang="en-US" altLang="ko-KR" sz="22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기본정보</a:t>
            </a:r>
            <a:endParaRPr lang="ko-KR" altLang="en-US" sz="22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6624640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smtClean="0">
                <a:latin typeface="Arial Narrow" pitchFamily="34" charset="0"/>
                <a:ea typeface="LG스마트체 Regular" pitchFamily="50" charset="-127"/>
              </a:rPr>
              <a:t>1/2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9408000" y="999000"/>
            <a:ext cx="360000" cy="22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/>
          <p:cNvSpPr txBox="1"/>
          <p:nvPr/>
        </p:nvSpPr>
        <p:spPr>
          <a:xfrm>
            <a:off x="106667" y="629668"/>
            <a:ext cx="841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기본정보 및</a:t>
            </a:r>
            <a:r>
              <a:rPr lang="en-US" altLang="ko-KR" u="sng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10</a:t>
            </a:r>
            <a:r>
              <a:rPr lang="ko-KR" altLang="en-US" u="sng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개년 공과</a:t>
            </a:r>
            <a:r>
              <a:rPr lang="ko-KR" altLang="en-US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는 </a:t>
            </a:r>
            <a:r>
              <a:rPr lang="en-US" altLang="ko-KR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HR profile</a:t>
            </a:r>
            <a:r>
              <a:rPr lang="ko-KR" altLang="en-US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에서 </a:t>
            </a:r>
            <a:r>
              <a:rPr lang="en-US" altLang="ko-KR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dirty="0" err="1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캡처</a:t>
            </a:r>
            <a:r>
              <a:rPr lang="ko-KR" altLang="en-US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후 </a:t>
            </a:r>
            <a:r>
              <a:rPr lang="ko-KR" altLang="en-US" dirty="0" err="1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붙여넣기</a:t>
            </a:r>
            <a:r>
              <a:rPr lang="ko-KR" altLang="en-US" dirty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가능  </a:t>
            </a:r>
            <a:endParaRPr lang="ko-KR" altLang="en-US" dirty="0"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3000" y="949470"/>
            <a:ext cx="1075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HR profile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접속 경로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: EP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→ 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HR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→ 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HR portal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→ 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My HR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→ 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Personal Info.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→ </a:t>
            </a:r>
            <a:r>
              <a:rPr lang="en-US" altLang="ko-KR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HR profile </a:t>
            </a:r>
            <a:r>
              <a:rPr lang="ko-KR" altLang="en-US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클릭</a:t>
            </a:r>
            <a:endParaRPr lang="ko-KR" altLang="en-US" dirty="0">
              <a:solidFill>
                <a:srgbClr val="006600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3000" y="1318802"/>
            <a:ext cx="1075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파일명 작성 </a:t>
            </a:r>
            <a:r>
              <a:rPr lang="en-US" altLang="ko-KR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: ‘</a:t>
            </a:r>
            <a:r>
              <a:rPr lang="ko-KR" altLang="en-US" u="sng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본인사번</a:t>
            </a:r>
            <a:r>
              <a:rPr lang="en-US" altLang="ko-KR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_</a:t>
            </a:r>
            <a:r>
              <a:rPr lang="ko-KR" altLang="en-US" u="sng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이름</a:t>
            </a:r>
            <a:r>
              <a:rPr lang="en-US" altLang="ko-KR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_</a:t>
            </a:r>
            <a:r>
              <a:rPr lang="ko-KR" altLang="en-US" u="sng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직책</a:t>
            </a:r>
            <a:r>
              <a:rPr lang="en-US" altLang="ko-KR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’</a:t>
            </a:r>
            <a:r>
              <a:rPr lang="ko-KR" altLang="en-US" u="sng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기준으로 작성부탁드립니다</a:t>
            </a:r>
            <a:r>
              <a:rPr lang="en-US" altLang="ko-KR" u="sng" dirty="0" smtClean="0">
                <a:solidFill>
                  <a:srgbClr val="0066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.</a:t>
            </a:r>
            <a:endParaRPr lang="ko-KR" altLang="en-US" u="sng" dirty="0">
              <a:solidFill>
                <a:srgbClr val="006600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89" y="1782936"/>
            <a:ext cx="13324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본정보</a:t>
            </a:r>
            <a:endParaRPr lang="en-US" altLang="ko-KR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2354" y="2152268"/>
            <a:ext cx="6201291" cy="434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0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직사각형 63"/>
          <p:cNvSpPr>
            <a:spLocks noChangeArrowheads="1"/>
          </p:cNvSpPr>
          <p:nvPr/>
        </p:nvSpPr>
        <p:spPr bwMode="auto">
          <a:xfrm>
            <a:off x="219985" y="3874342"/>
            <a:ext cx="503740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▣ Step3.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가속도 </a:t>
            </a:r>
            <a:r>
              <a:rPr lang="ko-KR" altLang="en-US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센서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 </a:t>
            </a:r>
            <a:r>
              <a:rPr lang="ko-KR" altLang="en-US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이용한 물류 설비 주행 시 흔들림 방향 확인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Test</a:t>
            </a:r>
            <a:endParaRPr kumimoji="0"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맑은 고딕" pitchFamily="50" charset="-127"/>
              <a:cs typeface="LG스마트체 Regular" pitchFamily="50" charset="-127"/>
            </a:endParaRPr>
          </a:p>
        </p:txBody>
      </p:sp>
      <p:grpSp>
        <p:nvGrpSpPr>
          <p:cNvPr id="116" name="그룹 115"/>
          <p:cNvGrpSpPr/>
          <p:nvPr/>
        </p:nvGrpSpPr>
        <p:grpSpPr>
          <a:xfrm>
            <a:off x="612817" y="4247730"/>
            <a:ext cx="3301843" cy="1987449"/>
            <a:chOff x="150429" y="4491571"/>
            <a:chExt cx="3301843" cy="1987449"/>
          </a:xfrm>
        </p:grpSpPr>
        <p:pic>
          <p:nvPicPr>
            <p:cNvPr id="23" name="Picture 2" descr="C:\Users\user\Desktop\Mask Shuttle 19.jpg"/>
            <p:cNvPicPr>
              <a:picLocks noChangeAspect="1" noChangeArrowheads="1"/>
            </p:cNvPicPr>
            <p:nvPr/>
          </p:nvPicPr>
          <p:blipFill>
            <a:blip r:embed="rId3" cstate="print"/>
            <a:srcRect b="3192"/>
            <a:stretch>
              <a:fillRect/>
            </a:stretch>
          </p:blipFill>
          <p:spPr bwMode="auto">
            <a:xfrm>
              <a:off x="150429" y="4491571"/>
              <a:ext cx="2476065" cy="198744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" name="그룹 97"/>
            <p:cNvGrpSpPr/>
            <p:nvPr/>
          </p:nvGrpSpPr>
          <p:grpSpPr>
            <a:xfrm>
              <a:off x="2533232" y="4967235"/>
              <a:ext cx="919040" cy="1053126"/>
              <a:chOff x="2468054" y="4921534"/>
              <a:chExt cx="919040" cy="1053126"/>
            </a:xfrm>
          </p:grpSpPr>
          <p:grpSp>
            <p:nvGrpSpPr>
              <p:cNvPr id="94" name="그룹 93"/>
              <p:cNvGrpSpPr/>
              <p:nvPr/>
            </p:nvGrpSpPr>
            <p:grpSpPr>
              <a:xfrm>
                <a:off x="2602555" y="4921534"/>
                <a:ext cx="784539" cy="748687"/>
                <a:chOff x="3282800" y="4929101"/>
                <a:chExt cx="784539" cy="748687"/>
              </a:xfrm>
            </p:grpSpPr>
            <p:sp>
              <p:nvSpPr>
                <p:cNvPr id="89" name="정육면체 88"/>
                <p:cNvSpPr/>
                <p:nvPr/>
              </p:nvSpPr>
              <p:spPr bwMode="auto">
                <a:xfrm>
                  <a:off x="3282800" y="5463311"/>
                  <a:ext cx="504589" cy="214477"/>
                </a:xfrm>
                <a:prstGeom prst="cube">
                  <a:avLst>
                    <a:gd name="adj" fmla="val 50331"/>
                  </a:avLst>
                </a:prstGeom>
                <a:solidFill>
                  <a:schemeClr val="tx1"/>
                </a:solidFill>
                <a:ln w="9525" cap="flat" cmpd="sng" algn="ctr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ko-KR" altLang="en-US" sz="20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rebuchet MS" pitchFamily="34" charset="0"/>
                    <a:ea typeface="돋움" pitchFamily="50" charset="-127"/>
                  </a:endParaRPr>
                </a:p>
              </p:txBody>
            </p:sp>
            <p:sp>
              <p:nvSpPr>
                <p:cNvPr id="90" name="오른쪽 화살표 89"/>
                <p:cNvSpPr/>
                <p:nvPr/>
              </p:nvSpPr>
              <p:spPr bwMode="auto">
                <a:xfrm rot="16200000">
                  <a:off x="3277078" y="5270004"/>
                  <a:ext cx="410232" cy="125099"/>
                </a:xfrm>
                <a:prstGeom prst="rightArrow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ko-KR" altLang="en-US" sz="20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rebuchet MS" pitchFamily="34" charset="0"/>
                    <a:ea typeface="돋움" pitchFamily="50" charset="-127"/>
                  </a:endParaRPr>
                </a:p>
              </p:txBody>
            </p:sp>
            <p:sp>
              <p:nvSpPr>
                <p:cNvPr id="93" name="오른쪽 화살표 92"/>
                <p:cNvSpPr/>
                <p:nvPr/>
              </p:nvSpPr>
              <p:spPr bwMode="auto">
                <a:xfrm rot="18657543">
                  <a:off x="3455374" y="5307970"/>
                  <a:ext cx="375971" cy="152829"/>
                </a:xfrm>
                <a:prstGeom prst="rightArrow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ko-KR" altLang="en-US" sz="20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rebuchet MS" pitchFamily="34" charset="0"/>
                    <a:ea typeface="돋움" pitchFamily="50" charset="-127"/>
                  </a:endParaRPr>
                </a:p>
              </p:txBody>
            </p:sp>
            <p:sp>
              <p:nvSpPr>
                <p:cNvPr id="92" name="오른쪽 화살표 91"/>
                <p:cNvSpPr/>
                <p:nvPr/>
              </p:nvSpPr>
              <p:spPr bwMode="auto">
                <a:xfrm>
                  <a:off x="3462423" y="5472778"/>
                  <a:ext cx="419141" cy="103661"/>
                </a:xfrm>
                <a:prstGeom prst="rightArrow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ko-KR" altLang="en-US" sz="20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rebuchet MS" pitchFamily="34" charset="0"/>
                    <a:ea typeface="돋움" pitchFamily="50" charset="-127"/>
                  </a:endParaRPr>
                </a:p>
              </p:txBody>
            </p:sp>
            <p:sp>
              <p:nvSpPr>
                <p:cNvPr id="91" name="TextBox 90"/>
                <p:cNvSpPr txBox="1"/>
                <p:nvPr/>
              </p:nvSpPr>
              <p:spPr>
                <a:xfrm>
                  <a:off x="3812141" y="5406460"/>
                  <a:ext cx="25519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 smtClean="0">
                      <a:latin typeface="Arial Narrow" panose="020B0606020202030204" pitchFamily="34" charset="0"/>
                    </a:rPr>
                    <a:t>Y</a:t>
                  </a:r>
                  <a:endParaRPr lang="ko-KR" altLang="en-US" sz="1000" dirty="0" smtClean="0"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95" name="TextBox 94"/>
                <p:cNvSpPr txBox="1"/>
                <p:nvPr/>
              </p:nvSpPr>
              <p:spPr>
                <a:xfrm>
                  <a:off x="3696696" y="5070288"/>
                  <a:ext cx="25519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>
                      <a:latin typeface="Arial Narrow" panose="020B0606020202030204" pitchFamily="34" charset="0"/>
                    </a:rPr>
                    <a:t>X</a:t>
                  </a:r>
                  <a:endParaRPr lang="ko-KR" altLang="en-US" sz="1000" dirty="0" smtClean="0"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96" name="TextBox 95"/>
                <p:cNvSpPr txBox="1"/>
                <p:nvPr/>
              </p:nvSpPr>
              <p:spPr>
                <a:xfrm>
                  <a:off x="3354595" y="4929101"/>
                  <a:ext cx="255198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 smtClean="0">
                      <a:latin typeface="Arial Narrow" panose="020B0606020202030204" pitchFamily="34" charset="0"/>
                    </a:rPr>
                    <a:t>Z</a:t>
                  </a:r>
                  <a:endParaRPr lang="ko-KR" altLang="en-US" sz="1000" dirty="0" smtClean="0">
                    <a:latin typeface="Arial Narrow" panose="020B0606020202030204" pitchFamily="34" charset="0"/>
                  </a:endParaRPr>
                </a:p>
              </p:txBody>
            </p:sp>
          </p:grpSp>
          <p:sp>
            <p:nvSpPr>
              <p:cNvPr id="97" name="TextBox 96"/>
              <p:cNvSpPr txBox="1"/>
              <p:nvPr/>
            </p:nvSpPr>
            <p:spPr>
              <a:xfrm>
                <a:off x="2468054" y="5728439"/>
                <a:ext cx="803595" cy="24622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10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가속도 센서</a:t>
                </a:r>
              </a:p>
            </p:txBody>
          </p:sp>
        </p:grpSp>
      </p:grpSp>
      <p:cxnSp>
        <p:nvCxnSpPr>
          <p:cNvPr id="102" name="구부러진 연결선 101"/>
          <p:cNvCxnSpPr>
            <a:stCxn id="89" idx="1"/>
          </p:cNvCxnSpPr>
          <p:nvPr/>
        </p:nvCxnSpPr>
        <p:spPr bwMode="auto">
          <a:xfrm rot="16200000" flipV="1">
            <a:off x="2917864" y="4954974"/>
            <a:ext cx="33589" cy="787567"/>
          </a:xfrm>
          <a:prstGeom prst="curvedConnector4">
            <a:avLst>
              <a:gd name="adj1" fmla="val 1565334"/>
              <a:gd name="adj2" fmla="val 100325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8" name="오른쪽 화살표 87"/>
          <p:cNvSpPr/>
          <p:nvPr/>
        </p:nvSpPr>
        <p:spPr>
          <a:xfrm>
            <a:off x="385917" y="5637255"/>
            <a:ext cx="1506252" cy="259369"/>
          </a:xfrm>
          <a:prstGeom prst="rightArrow">
            <a:avLst>
              <a:gd name="adj1" fmla="val 50000"/>
              <a:gd name="adj2" fmla="val 56719"/>
            </a:avLst>
          </a:prstGeom>
          <a:solidFill>
            <a:srgbClr val="0000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직사각형 117"/>
          <p:cNvSpPr/>
          <p:nvPr/>
        </p:nvSpPr>
        <p:spPr>
          <a:xfrm>
            <a:off x="259868" y="6407674"/>
            <a:ext cx="5357003" cy="369217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반송물품에 가속도 센서를 부착하여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X,Y, Z </a:t>
            </a: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방향의 떨림을 확인한다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119" name="직사각형 63"/>
          <p:cNvSpPr>
            <a:spLocks noChangeArrowheads="1"/>
          </p:cNvSpPr>
          <p:nvPr/>
        </p:nvSpPr>
        <p:spPr bwMode="auto">
          <a:xfrm>
            <a:off x="219985" y="582186"/>
            <a:ext cx="1876283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▣ Step2. Test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조건 설정</a:t>
            </a:r>
            <a:endParaRPr kumimoji="0"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맑은 고딕" pitchFamily="50" charset="-127"/>
              <a:cs typeface="LG스마트체 Regular" pitchFamily="50" charset="-127"/>
            </a:endParaRPr>
          </a:p>
        </p:txBody>
      </p:sp>
      <p:graphicFrame>
        <p:nvGraphicFramePr>
          <p:cNvPr id="120" name="Group 7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119154"/>
              </p:ext>
            </p:extLst>
          </p:nvPr>
        </p:nvGraphicFramePr>
        <p:xfrm>
          <a:off x="400317" y="1028681"/>
          <a:ext cx="3492160" cy="1670366"/>
        </p:xfrm>
        <a:graphic>
          <a:graphicData uri="http://schemas.openxmlformats.org/drawingml/2006/table">
            <a:tbl>
              <a:tblPr/>
              <a:tblGrid>
                <a:gridCol w="1425451"/>
                <a:gridCol w="688903"/>
                <a:gridCol w="688903"/>
                <a:gridCol w="688903"/>
              </a:tblGrid>
              <a:tr h="3442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이송구간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고속속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감속속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감속시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31536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설비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1 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설비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2</a:t>
                      </a: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4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0.5 sec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153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40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0.5 sec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153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4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1 sec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153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40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50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1 sec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7" name="직사각형 116"/>
          <p:cNvSpPr/>
          <p:nvPr/>
        </p:nvSpPr>
        <p:spPr>
          <a:xfrm>
            <a:off x="1529287" y="5995293"/>
            <a:ext cx="6431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설비</a:t>
            </a:r>
            <a:r>
              <a:rPr lang="en-US" altLang="ko-KR" sz="1600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2</a:t>
            </a:r>
            <a:endParaRPr lang="ko-KR" altLang="en-US" sz="1600" dirty="0"/>
          </a:p>
        </p:txBody>
      </p:sp>
      <p:sp>
        <p:nvSpPr>
          <p:cNvPr id="121" name="직사각형 120"/>
          <p:cNvSpPr/>
          <p:nvPr/>
        </p:nvSpPr>
        <p:spPr>
          <a:xfrm>
            <a:off x="3858857" y="1863864"/>
            <a:ext cx="8519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</a:rPr>
              <a:t>Test 1</a:t>
            </a:r>
            <a:r>
              <a:rPr lang="ko-KR" altLang="en-US" sz="1400" b="1" smtClean="0">
                <a:latin typeface="Arial Narrow" panose="020B0606020202030204" pitchFamily="34" charset="0"/>
              </a:rPr>
              <a:t> </a:t>
            </a:r>
            <a:r>
              <a:rPr lang="en-US" altLang="ko-KR" sz="1400" b="1" dirty="0" smtClean="0">
                <a:latin typeface="Arial Narrow" panose="020B0606020202030204" pitchFamily="34" charset="0"/>
              </a:rPr>
              <a:t>~ 4</a:t>
            </a:r>
            <a:endParaRPr lang="en-US" altLang="ko-KR" sz="1400" b="1" dirty="0" smtClean="0">
              <a:latin typeface="Arial Narrow" panose="020B0606020202030204" pitchFamily="34" charset="0"/>
              <a:ea typeface="LG스마트체 Regular" pitchFamily="50" charset="-127"/>
            </a:endParaRPr>
          </a:p>
        </p:txBody>
      </p:sp>
      <p:sp>
        <p:nvSpPr>
          <p:cNvPr id="126" name="직사각형 125"/>
          <p:cNvSpPr/>
          <p:nvPr/>
        </p:nvSpPr>
        <p:spPr>
          <a:xfrm>
            <a:off x="265730" y="2774748"/>
            <a:ext cx="5357003" cy="692382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위 조건 별로 각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5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회 씩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Test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하여 특정구간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[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등속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~ (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정지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+ 1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초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)] 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의 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20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를 수집한다</a:t>
            </a:r>
            <a:r>
              <a:rPr lang="en-US" altLang="ko-KR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171450" indent="-171450">
              <a:lnSpc>
                <a:spcPct val="200000"/>
              </a:lnSpc>
              <a:buFontTx/>
              <a:buChar char="-"/>
            </a:pPr>
            <a:r>
              <a:rPr lang="ko-KR" altLang="en-US" sz="105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정지 </a:t>
            </a:r>
            <a:r>
              <a:rPr lang="en-US" altLang="ko-KR" sz="105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+ 1</a:t>
            </a:r>
            <a:r>
              <a:rPr lang="ko-KR" altLang="en-US" sz="105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초 </a:t>
            </a:r>
            <a:r>
              <a:rPr lang="en-US" altLang="ko-KR" sz="105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050" b="1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정지 후 떨림량을 보기 위함</a:t>
            </a:r>
            <a:endParaRPr lang="en-US" altLang="ko-KR" sz="1050" b="1" dirty="0" smtClea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27" name="직사각형 63"/>
          <p:cNvSpPr>
            <a:spLocks noChangeArrowheads="1"/>
          </p:cNvSpPr>
          <p:nvPr/>
        </p:nvSpPr>
        <p:spPr bwMode="auto">
          <a:xfrm>
            <a:off x="5337977" y="586265"/>
            <a:ext cx="154241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▣ Step4. </a:t>
            </a:r>
            <a:r>
              <a:rPr lang="ko-KR" altLang="en-US" sz="1400" b="1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결과 도출</a:t>
            </a:r>
            <a:endParaRPr kumimoji="0"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맑은 고딕" pitchFamily="50" charset="-127"/>
              <a:cs typeface="LG스마트체 Regular" pitchFamily="50" charset="-127"/>
            </a:endParaRPr>
          </a:p>
        </p:txBody>
      </p:sp>
      <p:sp>
        <p:nvSpPr>
          <p:cNvPr id="128" name="직사각형 127"/>
          <p:cNvSpPr/>
          <p:nvPr/>
        </p:nvSpPr>
        <p:spPr>
          <a:xfrm>
            <a:off x="5424502" y="997684"/>
            <a:ext cx="4481498" cy="830882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수집된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를 시각화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&amp; </a:t>
            </a:r>
            <a:r>
              <a:rPr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수치화 하여 주행시 떨림 방향을 확인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특히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, Y </a:t>
            </a:r>
            <a:r>
              <a:rPr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방향 흔들림에 따른 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Z </a:t>
            </a:r>
            <a:r>
              <a:rPr lang="ko-KR" altLang="en-US" sz="120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방향 흔들림이 발생여부 확인</a:t>
            </a:r>
            <a:r>
              <a:rPr lang="en-US" altLang="ko-KR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978665" y="4864581"/>
            <a:ext cx="647934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Z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Y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</a:t>
            </a:r>
            <a:endParaRPr lang="en-US" altLang="ko-KR" sz="11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X: 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좌</a:t>
            </a:r>
            <a:r>
              <a:rPr lang="en-US" altLang="ko-KR" sz="11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1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우</a:t>
            </a:r>
            <a:endParaRPr lang="ko-KR" altLang="en-US" sz="110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3.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물류 설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후 흔들림 양에 따른 상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하 떨림 량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비교 분석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259868" y="5995293"/>
            <a:ext cx="6431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dirty="0" smtClean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설비</a:t>
            </a:r>
            <a:r>
              <a:rPr lang="en-US" altLang="ko-KR" sz="1600" dirty="0">
                <a:latin typeface="Arial Narrow" panose="020B0606020202030204" pitchFamily="34" charset="0"/>
                <a:ea typeface="LG스마트체 Regular" pitchFamily="50" charset="-127"/>
                <a:cs typeface="LG스마트체 Regular" pitchFamily="50" charset="-127"/>
              </a:rPr>
              <a:t>1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4004037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직사각형 40"/>
          <p:cNvSpPr/>
          <p:nvPr/>
        </p:nvSpPr>
        <p:spPr>
          <a:xfrm>
            <a:off x="93000" y="548680"/>
            <a:ext cx="9780717" cy="738549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■ 목 적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물류 설비 구동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지 시 전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흔들림 양 차이에 따른 </a:t>
            </a:r>
            <a:r>
              <a:rPr lang="ko-KR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송물품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상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 진동량 영향성 확인</a:t>
            </a:r>
            <a:endParaRPr lang="en-US" altLang="ko-KR" sz="1400" b="1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■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결 론 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전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후 흔들림 양의 차이에 따른 </a:t>
            </a:r>
            <a:r>
              <a:rPr lang="ko-KR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반송물품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의 상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하 진동 차이 없음</a:t>
            </a:r>
            <a:r>
              <a:rPr lang="en-US" altLang="ko-KR" sz="1400" b="1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</a:t>
            </a:r>
            <a:endParaRPr lang="ko-KR" altLang="en-US" sz="1400" b="1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1" name="직사각형 63"/>
          <p:cNvSpPr>
            <a:spLocks noChangeArrowheads="1"/>
          </p:cNvSpPr>
          <p:nvPr/>
        </p:nvSpPr>
        <p:spPr bwMode="auto">
          <a:xfrm>
            <a:off x="101931" y="1340768"/>
            <a:ext cx="2535118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LG스마트체 Regular" pitchFamily="50" charset="-127"/>
              </a:rPr>
              <a:t>▣ </a:t>
            </a:r>
            <a:r>
              <a:rPr lang="ko-KR" altLang="en-US" sz="1400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LG스마트체 Regular" pitchFamily="50" charset="-127"/>
              </a:rPr>
              <a:t>반송 물품 </a:t>
            </a:r>
            <a:r>
              <a:rPr lang="ko-KR" altLang="en-US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LG스마트체 Regular" pitchFamily="50" charset="-127"/>
              </a:rPr>
              <a:t>주행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LG스마트체 Regular" pitchFamily="50" charset="-127"/>
              </a:rPr>
              <a:t>Test Condition </a:t>
            </a:r>
            <a:endParaRPr kumimoji="0" lang="en-US" altLang="ko-KR" sz="1200" dirty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LG스마트체 Regular" pitchFamily="50" charset="-127"/>
            </a:endParaRPr>
          </a:p>
        </p:txBody>
      </p:sp>
      <p:graphicFrame>
        <p:nvGraphicFramePr>
          <p:cNvPr id="32" name="Group 7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782411"/>
              </p:ext>
            </p:extLst>
          </p:nvPr>
        </p:nvGraphicFramePr>
        <p:xfrm>
          <a:off x="397605" y="1856746"/>
          <a:ext cx="3387760" cy="576064"/>
        </p:xfrm>
        <a:graphic>
          <a:graphicData uri="http://schemas.openxmlformats.org/drawingml/2006/table">
            <a:tbl>
              <a:tblPr/>
              <a:tblGrid>
                <a:gridCol w="1382836"/>
                <a:gridCol w="668308"/>
                <a:gridCol w="668308"/>
                <a:gridCol w="668308"/>
              </a:tblGrid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이송구간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고속속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감속속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감속시간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설비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1 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설비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2</a:t>
                      </a: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450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50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mm/s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0.5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LG스마트체 Regular" panose="020B0600000101010101" pitchFamily="50" charset="-127"/>
                          <a:sym typeface="Wingdings" pitchFamily="2" charset="2"/>
                        </a:rPr>
                        <a:t>sec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LG스마트체 Regular" panose="020B0600000101010101" pitchFamily="50" charset="-127"/>
                        <a:sym typeface="Wingdings" pitchFamily="2" charset="2"/>
                      </a:endParaRPr>
                    </a:p>
                  </a:txBody>
                  <a:tcPr marL="19499" marR="19499" marT="18017" marB="18017" anchor="ctr" anchorCtr="1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6" name="직사각형 63"/>
          <p:cNvSpPr>
            <a:spLocks noChangeArrowheads="1"/>
          </p:cNvSpPr>
          <p:nvPr/>
        </p:nvSpPr>
        <p:spPr bwMode="auto">
          <a:xfrm>
            <a:off x="101931" y="2564904"/>
            <a:ext cx="382029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LG스마트체 Regular" pitchFamily="50" charset="-127"/>
              </a:rPr>
              <a:t>▣ </a:t>
            </a:r>
            <a:r>
              <a:rPr lang="en-US" altLang="ko-KR" sz="1400" b="1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LG스마트체 Regular" pitchFamily="50" charset="-127"/>
              </a:rPr>
              <a:t>Test</a:t>
            </a:r>
            <a:r>
              <a:rPr lang="en-US" altLang="ko-KR" sz="14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LG스마트체 Regular" pitchFamily="50" charset="-127"/>
              </a:rPr>
              <a:t> </a:t>
            </a:r>
            <a:r>
              <a:rPr lang="ko-KR" altLang="en-US" sz="1400" b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LG스마트체 Regular" pitchFamily="50" charset="-127"/>
              </a:rPr>
              <a:t>결과</a:t>
            </a:r>
            <a:endParaRPr kumimoji="0"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LG스마트체 Regular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7401" y="3016785"/>
            <a:ext cx="779793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행 함에 따라 전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 방향 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dirty="0" smtClean="0">
                <a:solidFill>
                  <a:srgbClr val="00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반송물품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행 방향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흔들림은 있으나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로 인한 상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 방향 떨림 진동량 변화는 없음</a:t>
            </a:r>
            <a:r>
              <a:rPr lang="en-US" altLang="ko-KR" sz="12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en-US" altLang="ko-KR" sz="12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224758" y="6445702"/>
            <a:ext cx="7020520" cy="307341"/>
          </a:xfrm>
          <a:prstGeom prst="rect">
            <a:avLst/>
          </a:prstGeom>
        </p:spPr>
        <p:txBody>
          <a:bodyPr wrap="square" lIns="91324" tIns="45663" rIns="91324" bIns="45663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→ </a:t>
            </a:r>
            <a:r>
              <a:rPr lang="en-US" altLang="ko-KR" sz="1050" b="1" dirty="0" smtClean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Data</a:t>
            </a: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050" b="1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분석 시 감속</a:t>
            </a: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-</a:t>
            </a:r>
            <a:r>
              <a:rPr lang="ko-KR" altLang="en-US" sz="1050" b="1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정지 구간에 전</a:t>
            </a: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050" b="1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후 진동량에 대한 흔들림 차이는 있으나 상</a:t>
            </a: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/</a:t>
            </a:r>
            <a:r>
              <a:rPr lang="ko-KR" altLang="en-US" sz="1050" b="1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하 진동량에 대한 변화는 없음을 증명함</a:t>
            </a:r>
            <a:r>
              <a:rPr lang="en-US" altLang="ko-KR" sz="1050" b="1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.</a:t>
            </a:r>
          </a:p>
        </p:txBody>
      </p:sp>
      <p:grpSp>
        <p:nvGrpSpPr>
          <p:cNvPr id="7" name="그룹 6"/>
          <p:cNvGrpSpPr/>
          <p:nvPr/>
        </p:nvGrpSpPr>
        <p:grpSpPr>
          <a:xfrm>
            <a:off x="148988" y="3429000"/>
            <a:ext cx="5337236" cy="2836411"/>
            <a:chOff x="4317288" y="2317636"/>
            <a:chExt cx="5554766" cy="3230755"/>
          </a:xfrm>
        </p:grpSpPr>
        <p:grpSp>
          <p:nvGrpSpPr>
            <p:cNvPr id="93" name="그룹 92"/>
            <p:cNvGrpSpPr/>
            <p:nvPr/>
          </p:nvGrpSpPr>
          <p:grpSpPr>
            <a:xfrm>
              <a:off x="8312907" y="2317636"/>
              <a:ext cx="1559147" cy="215444"/>
              <a:chOff x="8526128" y="1728895"/>
              <a:chExt cx="1559147" cy="215444"/>
            </a:xfrm>
          </p:grpSpPr>
          <p:cxnSp>
            <p:nvCxnSpPr>
              <p:cNvPr id="94" name="직선 연결선 93"/>
              <p:cNvCxnSpPr/>
              <p:nvPr/>
            </p:nvCxnSpPr>
            <p:spPr bwMode="auto">
              <a:xfrm>
                <a:off x="8526128" y="1836617"/>
                <a:ext cx="254738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00FF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5" name="직사각형 94"/>
              <p:cNvSpPr/>
              <p:nvPr/>
            </p:nvSpPr>
            <p:spPr>
              <a:xfrm>
                <a:off x="8748049" y="1728895"/>
                <a:ext cx="1337226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800" b="1" dirty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흔들림 </a:t>
                </a:r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小 조건</a:t>
                </a:r>
                <a:r>
                  <a:rPr lang="en-US" altLang="ko-KR" sz="800" b="1" dirty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:r>
                  <a:rPr lang="ko-KR" altLang="en-US" sz="800" b="1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주행 정지점</a:t>
                </a:r>
                <a:endParaRPr lang="en-US" altLang="ko-KR" sz="8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p:grpSp>
        <p:grpSp>
          <p:nvGrpSpPr>
            <p:cNvPr id="96" name="그룹 95"/>
            <p:cNvGrpSpPr/>
            <p:nvPr/>
          </p:nvGrpSpPr>
          <p:grpSpPr>
            <a:xfrm>
              <a:off x="8302869" y="2481285"/>
              <a:ext cx="1567385" cy="215444"/>
              <a:chOff x="8526128" y="1720855"/>
              <a:chExt cx="1567385" cy="215444"/>
            </a:xfrm>
          </p:grpSpPr>
          <p:cxnSp>
            <p:nvCxnSpPr>
              <p:cNvPr id="97" name="직선 연결선 96"/>
              <p:cNvCxnSpPr/>
              <p:nvPr/>
            </p:nvCxnSpPr>
            <p:spPr bwMode="auto">
              <a:xfrm>
                <a:off x="8526128" y="1828578"/>
                <a:ext cx="254738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0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8" name="직사각형 97"/>
              <p:cNvSpPr/>
              <p:nvPr/>
            </p:nvSpPr>
            <p:spPr>
              <a:xfrm>
                <a:off x="8756287" y="1720855"/>
                <a:ext cx="1337226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ko-KR" altLang="en-US" sz="800" b="1" dirty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흔들림 </a:t>
                </a:r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大 조건</a:t>
                </a:r>
                <a:r>
                  <a:rPr lang="en-US" altLang="ko-KR" sz="800" b="1" dirty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:r>
                  <a:rPr lang="ko-KR" altLang="en-US" sz="800" b="1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주행 정지점</a:t>
                </a:r>
                <a:endParaRPr lang="en-US" altLang="ko-KR" sz="8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p:grpSp>
        <p:grpSp>
          <p:nvGrpSpPr>
            <p:cNvPr id="2" name="그룹 1"/>
            <p:cNvGrpSpPr/>
            <p:nvPr/>
          </p:nvGrpSpPr>
          <p:grpSpPr>
            <a:xfrm>
              <a:off x="4317288" y="2655295"/>
              <a:ext cx="5539546" cy="2893096"/>
              <a:chOff x="4317288" y="2655295"/>
              <a:chExt cx="5539546" cy="2893096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4396146" y="2890528"/>
                <a:ext cx="352021" cy="227086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250000"/>
                  </a:lnSpc>
                </a:pPr>
                <a:r>
                  <a:rPr lang="en-US" altLang="ko-KR" sz="7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0.3</a:t>
                </a:r>
              </a:p>
              <a:p>
                <a:pPr algn="ctr">
                  <a:lnSpc>
                    <a:spcPct val="250000"/>
                  </a:lnSpc>
                </a:pPr>
                <a:endParaRPr lang="en-US" altLang="ko-KR" sz="4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  <a:p>
                <a:pPr algn="ctr">
                  <a:lnSpc>
                    <a:spcPct val="250000"/>
                  </a:lnSpc>
                </a:pPr>
                <a:r>
                  <a:rPr lang="en-US" altLang="ko-KR" sz="7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0.2</a:t>
                </a:r>
              </a:p>
              <a:p>
                <a:pPr algn="ctr">
                  <a:lnSpc>
                    <a:spcPct val="250000"/>
                  </a:lnSpc>
                </a:pPr>
                <a:endParaRPr lang="en-US" altLang="ko-KR" sz="3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  <a:p>
                <a:pPr algn="ctr">
                  <a:lnSpc>
                    <a:spcPct val="250000"/>
                  </a:lnSpc>
                </a:pPr>
                <a:r>
                  <a:rPr lang="en-US" altLang="ko-KR" sz="7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0.1</a:t>
                </a:r>
              </a:p>
              <a:p>
                <a:pPr algn="ctr">
                  <a:lnSpc>
                    <a:spcPct val="250000"/>
                  </a:lnSpc>
                </a:pPr>
                <a:endParaRPr lang="en-US" altLang="ko-KR" sz="4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  <a:p>
                <a:pPr algn="ctr">
                  <a:lnSpc>
                    <a:spcPct val="250000"/>
                  </a:lnSpc>
                </a:pPr>
                <a:r>
                  <a:rPr lang="en-US" altLang="ko-KR" sz="7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0.0</a:t>
                </a:r>
              </a:p>
              <a:p>
                <a:pPr algn="ctr">
                  <a:lnSpc>
                    <a:spcPct val="250000"/>
                  </a:lnSpc>
                </a:pPr>
                <a:endParaRPr lang="en-US" altLang="ko-KR" sz="400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  <a:p>
                <a:pPr algn="ctr">
                  <a:lnSpc>
                    <a:spcPct val="250000"/>
                  </a:lnSpc>
                </a:pPr>
                <a:r>
                  <a:rPr lang="en-US" altLang="ko-KR" sz="700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-0.1</a:t>
                </a:r>
              </a:p>
            </p:txBody>
          </p:sp>
          <p:pic>
            <p:nvPicPr>
              <p:cNvPr id="39" name="그림 3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852" t="10280" r="9655" b="7371"/>
              <a:stretch/>
            </p:blipFill>
            <p:spPr>
              <a:xfrm>
                <a:off x="4697249" y="2704769"/>
                <a:ext cx="5159585" cy="2740455"/>
              </a:xfrm>
              <a:prstGeom prst="rect">
                <a:avLst/>
              </a:prstGeom>
            </p:spPr>
          </p:pic>
          <p:sp>
            <p:nvSpPr>
              <p:cNvPr id="52" name="TextBox 51"/>
              <p:cNvSpPr txBox="1"/>
              <p:nvPr/>
            </p:nvSpPr>
            <p:spPr>
              <a:xfrm>
                <a:off x="6741201" y="2655295"/>
                <a:ext cx="786120" cy="29798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100" b="1" dirty="0" smtClean="0">
                    <a:latin typeface="Arial Narrow" panose="020B0606020202030204" pitchFamily="34" charset="0"/>
                  </a:rPr>
                  <a:t>Speed</a:t>
                </a:r>
                <a:r>
                  <a:rPr lang="en-US" altLang="ko-KR" sz="1100" b="1" dirty="0" smtClean="0">
                    <a:latin typeface="Arial Narrow" panose="020B0606020202030204" pitchFamily="34" charset="0"/>
                    <a:ea typeface="LG스마트체 Regular" panose="020B0600000101010101" pitchFamily="50" charset="-127"/>
                  </a:rPr>
                  <a:t> 450</a:t>
                </a:r>
                <a:endParaRPr lang="ko-KR" altLang="en-US" sz="1100" b="1" dirty="0" smtClean="0">
                  <a:latin typeface="Arial Narrow" panose="020B0606020202030204" pitchFamily="34" charset="0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9142883" y="2789774"/>
                <a:ext cx="669903" cy="3721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endParaRPr lang="ko-KR" altLang="en-US" sz="11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4317288" y="2766905"/>
                <a:ext cx="512514" cy="2804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000" b="1" dirty="0" smtClean="0">
                    <a:solidFill>
                      <a:schemeClr val="bg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mm/s²</a:t>
                </a:r>
                <a:endParaRPr lang="ko-KR" altLang="en-US" sz="1000" b="1" dirty="0" smtClean="0">
                  <a:solidFill>
                    <a:schemeClr val="bg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grpSp>
            <p:nvGrpSpPr>
              <p:cNvPr id="62" name="그룹 61"/>
              <p:cNvGrpSpPr/>
              <p:nvPr/>
            </p:nvGrpSpPr>
            <p:grpSpPr>
              <a:xfrm>
                <a:off x="4786709" y="2808004"/>
                <a:ext cx="1786059" cy="915409"/>
                <a:chOff x="4987823" y="2383110"/>
                <a:chExt cx="1330647" cy="643568"/>
              </a:xfrm>
            </p:grpSpPr>
            <p:grpSp>
              <p:nvGrpSpPr>
                <p:cNvPr id="81" name="그룹 80"/>
                <p:cNvGrpSpPr/>
                <p:nvPr/>
              </p:nvGrpSpPr>
              <p:grpSpPr>
                <a:xfrm>
                  <a:off x="4987823" y="2383110"/>
                  <a:ext cx="1327519" cy="215444"/>
                  <a:chOff x="8526128" y="1804191"/>
                  <a:chExt cx="1327519" cy="215444"/>
                </a:xfrm>
              </p:grpSpPr>
              <p:cxnSp>
                <p:nvCxnSpPr>
                  <p:cNvPr id="91" name="직선 연결선 90"/>
                  <p:cNvCxnSpPr/>
                  <p:nvPr/>
                </p:nvCxnSpPr>
                <p:spPr bwMode="auto">
                  <a:xfrm>
                    <a:off x="8526128" y="1888745"/>
                    <a:ext cx="254738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0000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92" name="직사각형 91"/>
                  <p:cNvSpPr/>
                  <p:nvPr/>
                </p:nvSpPr>
                <p:spPr>
                  <a:xfrm>
                    <a:off x="8742445" y="1804191"/>
                    <a:ext cx="1111202" cy="21544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ko-KR" altLang="en-US" sz="800" b="1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흔들림 </a:t>
                    </a:r>
                    <a:r>
                      <a:rPr lang="ko-KR" altLang="en-US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小 조건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(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전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/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후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)</a:t>
                    </a:r>
                    <a:endParaRPr lang="en-US" altLang="ko-KR" sz="800" b="1" dirty="0">
                      <a:latin typeface="LG스마트체 Regular" panose="020B0600000101010101" pitchFamily="50" charset="-127"/>
                      <a:ea typeface="LG스마트체 Regular" panose="020B0600000101010101" pitchFamily="50" charset="-127"/>
                    </a:endParaRPr>
                  </a:p>
                </p:txBody>
              </p:sp>
            </p:grpSp>
            <p:grpSp>
              <p:nvGrpSpPr>
                <p:cNvPr id="82" name="그룹 81"/>
                <p:cNvGrpSpPr/>
                <p:nvPr/>
              </p:nvGrpSpPr>
              <p:grpSpPr>
                <a:xfrm>
                  <a:off x="4993427" y="2527876"/>
                  <a:ext cx="1321915" cy="215444"/>
                  <a:chOff x="8526128" y="1759163"/>
                  <a:chExt cx="1321915" cy="215444"/>
                </a:xfrm>
              </p:grpSpPr>
              <p:sp>
                <p:nvSpPr>
                  <p:cNvPr id="89" name="직사각형 88"/>
                  <p:cNvSpPr/>
                  <p:nvPr/>
                </p:nvSpPr>
                <p:spPr>
                  <a:xfrm>
                    <a:off x="8736841" y="1759163"/>
                    <a:ext cx="1111202" cy="21544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ko-KR" altLang="en-US" sz="800" b="1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흔들림 </a:t>
                    </a:r>
                    <a:r>
                      <a:rPr lang="ko-KR" altLang="en-US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小 조건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(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상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/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하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)</a:t>
                    </a:r>
                    <a:endParaRPr lang="ko-KR" altLang="en-US" sz="800" dirty="0">
                      <a:latin typeface="LG스마트체 Regular" panose="020B0600000101010101" pitchFamily="50" charset="-127"/>
                      <a:ea typeface="LG스마트체 Regular" panose="020B0600000101010101" pitchFamily="50" charset="-127"/>
                    </a:endParaRPr>
                  </a:p>
                </p:txBody>
              </p:sp>
              <p:cxnSp>
                <p:nvCxnSpPr>
                  <p:cNvPr id="90" name="직선 연결선 89"/>
                  <p:cNvCxnSpPr/>
                  <p:nvPr/>
                </p:nvCxnSpPr>
                <p:spPr bwMode="auto">
                  <a:xfrm>
                    <a:off x="8526128" y="1837925"/>
                    <a:ext cx="254738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7030A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83" name="그룹 82"/>
                <p:cNvGrpSpPr/>
                <p:nvPr/>
              </p:nvGrpSpPr>
              <p:grpSpPr>
                <a:xfrm>
                  <a:off x="4987823" y="2672451"/>
                  <a:ext cx="1327519" cy="215444"/>
                  <a:chOff x="8526128" y="1678077"/>
                  <a:chExt cx="1327519" cy="215444"/>
                </a:xfrm>
              </p:grpSpPr>
              <p:sp>
                <p:nvSpPr>
                  <p:cNvPr id="87" name="직사각형 86"/>
                  <p:cNvSpPr/>
                  <p:nvPr/>
                </p:nvSpPr>
                <p:spPr>
                  <a:xfrm>
                    <a:off x="8742445" y="1678077"/>
                    <a:ext cx="1111202" cy="21544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ko-KR" altLang="en-US" sz="800" b="1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흔들림 </a:t>
                    </a:r>
                    <a:r>
                      <a:rPr lang="ko-KR" altLang="en-US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大 조건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(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전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/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후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)</a:t>
                    </a:r>
                    <a:endParaRPr lang="ko-KR" altLang="en-US" sz="800" dirty="0">
                      <a:latin typeface="LG스마트체 Regular" panose="020B0600000101010101" pitchFamily="50" charset="-127"/>
                      <a:ea typeface="LG스마트체 Regular" panose="020B0600000101010101" pitchFamily="50" charset="-127"/>
                    </a:endParaRPr>
                  </a:p>
                </p:txBody>
              </p:sp>
              <p:cxnSp>
                <p:nvCxnSpPr>
                  <p:cNvPr id="88" name="직선 연결선 87"/>
                  <p:cNvCxnSpPr/>
                  <p:nvPr/>
                </p:nvCxnSpPr>
                <p:spPr bwMode="auto">
                  <a:xfrm>
                    <a:off x="8526128" y="1751053"/>
                    <a:ext cx="254738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FF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  <p:grpSp>
              <p:nvGrpSpPr>
                <p:cNvPr id="84" name="그룹 83"/>
                <p:cNvGrpSpPr/>
                <p:nvPr/>
              </p:nvGrpSpPr>
              <p:grpSpPr>
                <a:xfrm>
                  <a:off x="4988599" y="2811234"/>
                  <a:ext cx="1329871" cy="215444"/>
                  <a:chOff x="8517025" y="1591200"/>
                  <a:chExt cx="1329871" cy="215444"/>
                </a:xfrm>
              </p:grpSpPr>
              <p:sp>
                <p:nvSpPr>
                  <p:cNvPr id="85" name="직사각형 84"/>
                  <p:cNvSpPr/>
                  <p:nvPr/>
                </p:nvSpPr>
                <p:spPr>
                  <a:xfrm>
                    <a:off x="8735694" y="1591200"/>
                    <a:ext cx="1111202" cy="215444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r>
                      <a:rPr lang="ko-KR" altLang="en-US" sz="800" b="1" dirty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흔들림 </a:t>
                    </a:r>
                    <a:r>
                      <a:rPr lang="ko-KR" altLang="en-US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大 조건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(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상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/</a:t>
                    </a:r>
                    <a:r>
                      <a:rPr lang="ko-KR" altLang="en-US" sz="800" b="1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하</a:t>
                    </a:r>
                    <a:r>
                      <a:rPr lang="en-US" altLang="ko-KR" sz="800" b="1" dirty="0" smtClean="0"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rPr>
                      <a:t>)</a:t>
                    </a:r>
                    <a:endParaRPr lang="ko-KR" altLang="en-US" sz="800" dirty="0">
                      <a:latin typeface="LG스마트체 Regular" panose="020B0600000101010101" pitchFamily="50" charset="-127"/>
                      <a:ea typeface="LG스마트체 Regular" panose="020B0600000101010101" pitchFamily="50" charset="-127"/>
                    </a:endParaRPr>
                  </a:p>
                </p:txBody>
              </p:sp>
              <p:cxnSp>
                <p:nvCxnSpPr>
                  <p:cNvPr id="86" name="직선 연결선 85"/>
                  <p:cNvCxnSpPr/>
                  <p:nvPr/>
                </p:nvCxnSpPr>
                <p:spPr bwMode="auto">
                  <a:xfrm>
                    <a:off x="8517025" y="1669974"/>
                    <a:ext cx="254738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0066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sp>
            <p:nvSpPr>
              <p:cNvPr id="66" name="TextBox 65"/>
              <p:cNvSpPr txBox="1"/>
              <p:nvPr/>
            </p:nvSpPr>
            <p:spPr>
              <a:xfrm>
                <a:off x="6812510" y="3661926"/>
                <a:ext cx="799631" cy="2453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상</a:t>
                </a:r>
                <a:r>
                  <a:rPr lang="en-US" altLang="ko-KR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/</a:t>
                </a:r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하 진동량</a:t>
                </a:r>
              </a:p>
            </p:txBody>
          </p:sp>
          <p:cxnSp>
            <p:nvCxnSpPr>
              <p:cNvPr id="67" name="직선 화살표 연결선 66"/>
              <p:cNvCxnSpPr/>
              <p:nvPr/>
            </p:nvCxnSpPr>
            <p:spPr bwMode="auto">
              <a:xfrm>
                <a:off x="7168157" y="3858130"/>
                <a:ext cx="285431" cy="371766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68" name="TextBox 67"/>
              <p:cNvSpPr txBox="1"/>
              <p:nvPr/>
            </p:nvSpPr>
            <p:spPr>
              <a:xfrm>
                <a:off x="6775191" y="3182890"/>
                <a:ext cx="731065" cy="2453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전</a:t>
                </a:r>
                <a:r>
                  <a:rPr lang="en-US" altLang="ko-KR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/</a:t>
                </a:r>
                <a:r>
                  <a:rPr lang="ko-KR" altLang="en-US" sz="8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후 진동량</a:t>
                </a:r>
              </a:p>
            </p:txBody>
          </p:sp>
          <p:cxnSp>
            <p:nvCxnSpPr>
              <p:cNvPr id="69" name="직선 화살표 연결선 68"/>
              <p:cNvCxnSpPr/>
              <p:nvPr/>
            </p:nvCxnSpPr>
            <p:spPr bwMode="auto">
              <a:xfrm>
                <a:off x="7353336" y="3387244"/>
                <a:ext cx="300389" cy="366813"/>
              </a:xfrm>
              <a:prstGeom prst="straightConnector1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71" name="직선 화살표 연결선 70"/>
              <p:cNvCxnSpPr/>
              <p:nvPr/>
            </p:nvCxnSpPr>
            <p:spPr bwMode="auto">
              <a:xfrm flipV="1">
                <a:off x="4967840" y="5016942"/>
                <a:ext cx="2652675" cy="13107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arrow" w="med" len="med"/>
                <a:tailEnd type="arrow" w="med" len="med"/>
              </a:ln>
              <a:effectLst/>
            </p:spPr>
          </p:cxnSp>
          <p:sp>
            <p:nvSpPr>
              <p:cNvPr id="78" name="TextBox 77"/>
              <p:cNvSpPr txBox="1"/>
              <p:nvPr/>
            </p:nvSpPr>
            <p:spPr>
              <a:xfrm>
                <a:off x="6034242" y="5030048"/>
                <a:ext cx="624968" cy="240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0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등속 구간</a:t>
                </a:r>
              </a:p>
            </p:txBody>
          </p:sp>
          <p:cxnSp>
            <p:nvCxnSpPr>
              <p:cNvPr id="79" name="직선 화살표 연결선 78"/>
              <p:cNvCxnSpPr/>
              <p:nvPr/>
            </p:nvCxnSpPr>
            <p:spPr bwMode="auto">
              <a:xfrm>
                <a:off x="7620516" y="5014316"/>
                <a:ext cx="2157895" cy="1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ysDash"/>
                <a:round/>
                <a:headEnd type="arrow" w="med" len="med"/>
                <a:tailEnd type="arrow" w="med" len="med"/>
              </a:ln>
              <a:effectLst/>
            </p:spPr>
          </p:cxnSp>
          <p:sp>
            <p:nvSpPr>
              <p:cNvPr id="80" name="TextBox 79"/>
              <p:cNvSpPr txBox="1"/>
              <p:nvPr/>
            </p:nvSpPr>
            <p:spPr>
              <a:xfrm>
                <a:off x="8096043" y="5023494"/>
                <a:ext cx="867645" cy="2401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ko-KR" altLang="en-US" sz="1000" b="1" dirty="0" smtClean="0"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감속 정지 구간</a:t>
                </a: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9329759" y="5267938"/>
                <a:ext cx="372372" cy="2804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ko-KR" sz="1000" b="1" dirty="0" smtClean="0">
                    <a:solidFill>
                      <a:schemeClr val="bg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sec</a:t>
                </a:r>
                <a:endParaRPr lang="ko-KR" altLang="en-US" sz="1000" b="1" dirty="0" smtClean="0">
                  <a:solidFill>
                    <a:schemeClr val="bg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</p:grpSp>
        <p:cxnSp>
          <p:nvCxnSpPr>
            <p:cNvPr id="5" name="직선 연결선 4"/>
            <p:cNvCxnSpPr/>
            <p:nvPr/>
          </p:nvCxnSpPr>
          <p:spPr bwMode="auto">
            <a:xfrm>
              <a:off x="4730201" y="4009094"/>
              <a:ext cx="5072826" cy="2733"/>
            </a:xfrm>
            <a:prstGeom prst="line">
              <a:avLst/>
            </a:prstGeom>
            <a:solidFill>
              <a:srgbClr val="99CCFF"/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lgDashDot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직선 연결선 99"/>
            <p:cNvCxnSpPr/>
            <p:nvPr/>
          </p:nvCxnSpPr>
          <p:spPr bwMode="auto">
            <a:xfrm>
              <a:off x="4726082" y="4449818"/>
              <a:ext cx="5072826" cy="2733"/>
            </a:xfrm>
            <a:prstGeom prst="line">
              <a:avLst/>
            </a:prstGeom>
            <a:solidFill>
              <a:srgbClr val="99CCFF"/>
            </a:solidFill>
            <a:ln w="6350" cap="flat" cmpd="sng" algn="ctr">
              <a:solidFill>
                <a:schemeClr val="bg1">
                  <a:lumMod val="85000"/>
                </a:schemeClr>
              </a:solidFill>
              <a:prstDash val="lgDashDotDot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5" name="직사각형 54"/>
          <p:cNvSpPr/>
          <p:nvPr/>
        </p:nvSpPr>
        <p:spPr bwMode="auto">
          <a:xfrm>
            <a:off x="3491049" y="4293096"/>
            <a:ext cx="1571812" cy="1323439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1" latinLnBrk="1" hangingPunct="1"/>
            <a:endParaRPr kumimoji="1" lang="ko-KR" altLang="en-US" sz="8000" b="1" smtClean="0">
              <a:solidFill>
                <a:srgbClr val="000000"/>
              </a:solidFill>
              <a:latin typeface="Trebuchet MS" pitchFamily="34" charset="0"/>
              <a:ea typeface="돋움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040600" y="3639374"/>
            <a:ext cx="4809811" cy="2664967"/>
            <a:chOff x="5023715" y="3639374"/>
            <a:chExt cx="4809811" cy="2664967"/>
          </a:xfrm>
        </p:grpSpPr>
        <p:cxnSp>
          <p:nvCxnSpPr>
            <p:cNvPr id="59" name="직선 연결선 58"/>
            <p:cNvCxnSpPr/>
            <p:nvPr/>
          </p:nvCxnSpPr>
          <p:spPr bwMode="auto">
            <a:xfrm>
              <a:off x="5023715" y="5596759"/>
              <a:ext cx="941086" cy="698391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직선 연결선 59"/>
            <p:cNvCxnSpPr/>
            <p:nvPr/>
          </p:nvCxnSpPr>
          <p:spPr bwMode="auto">
            <a:xfrm flipV="1">
              <a:off x="5047220" y="3639374"/>
              <a:ext cx="917581" cy="656094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6" name="그림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85" t="11326" r="9808" b="7745"/>
            <a:stretch/>
          </p:blipFill>
          <p:spPr>
            <a:xfrm>
              <a:off x="5977696" y="3639374"/>
              <a:ext cx="3855830" cy="266496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</p:pic>
        <p:sp>
          <p:nvSpPr>
            <p:cNvPr id="64" name="TextBox 63"/>
            <p:cNvSpPr txBox="1"/>
            <p:nvPr/>
          </p:nvSpPr>
          <p:spPr>
            <a:xfrm>
              <a:off x="7438216" y="4196267"/>
              <a:ext cx="18085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▶전</a:t>
              </a:r>
              <a:r>
                <a:rPr lang="en-US" altLang="ko-KR" sz="8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/</a:t>
              </a:r>
              <a:r>
                <a:rPr lang="ko-KR" altLang="en-US" sz="800" b="1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후 진동량에 대한 흔들림 차이 발생</a:t>
              </a:r>
              <a:endParaRPr lang="ko-KR" altLang="en-US" sz="8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cxnSp>
          <p:nvCxnSpPr>
            <p:cNvPr id="65" name="직선 화살표 연결선 64"/>
            <p:cNvCxnSpPr/>
            <p:nvPr/>
          </p:nvCxnSpPr>
          <p:spPr bwMode="auto">
            <a:xfrm>
              <a:off x="8436887" y="4383687"/>
              <a:ext cx="119674" cy="295227"/>
            </a:xfrm>
            <a:prstGeom prst="straightConnector1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0" name="TextBox 69"/>
            <p:cNvSpPr txBox="1"/>
            <p:nvPr/>
          </p:nvSpPr>
          <p:spPr>
            <a:xfrm>
              <a:off x="6622297" y="4731124"/>
              <a:ext cx="12121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8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▶상</a:t>
              </a:r>
              <a:r>
                <a:rPr lang="en-US" altLang="ko-KR" sz="8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/</a:t>
              </a:r>
              <a:r>
                <a:rPr lang="ko-KR" altLang="en-US" sz="8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하 진동량 변화 없음</a:t>
              </a:r>
            </a:p>
          </p:txBody>
        </p:sp>
        <p:cxnSp>
          <p:nvCxnSpPr>
            <p:cNvPr id="72" name="직선 화살표 연결선 71"/>
            <p:cNvCxnSpPr>
              <a:stCxn id="70" idx="2"/>
            </p:cNvCxnSpPr>
            <p:nvPr/>
          </p:nvCxnSpPr>
          <p:spPr bwMode="auto">
            <a:xfrm>
              <a:off x="7228393" y="4946568"/>
              <a:ext cx="70573" cy="249836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5" name="TextBox 74"/>
            <p:cNvSpPr txBox="1"/>
            <p:nvPr/>
          </p:nvSpPr>
          <p:spPr>
            <a:xfrm>
              <a:off x="9157584" y="3691720"/>
              <a:ext cx="643669" cy="32669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ko-KR" altLang="en-US" sz="11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61" name="Text Box 144"/>
          <p:cNvSpPr txBox="1">
            <a:spLocks noChangeArrowheads="1"/>
          </p:cNvSpPr>
          <p:nvPr/>
        </p:nvSpPr>
        <p:spPr bwMode="auto">
          <a:xfrm>
            <a:off x="0" y="32052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r>
              <a:rPr lang="ko-KR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유첨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3.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물류 설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 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전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후 흔들림 양에 따른 상</a:t>
            </a:r>
            <a:r>
              <a:rPr lang="en-US" altLang="ko-KR" sz="20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 sz="20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하 떨림 량 </a:t>
            </a:r>
            <a:r>
              <a:rPr lang="ko-KR" altLang="en-US" sz="20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비교 분석</a:t>
            </a:r>
            <a:endParaRPr lang="en-US" altLang="ko-KR" sz="20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03204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. 10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개년 공과</a:t>
            </a:r>
            <a:endParaRPr lang="ko-KR" altLang="en-US" sz="22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6624640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smtClean="0">
                <a:latin typeface="Arial Narrow" pitchFamily="34" charset="0"/>
                <a:ea typeface="LG스마트체 Regular" pitchFamily="50" charset="-127"/>
              </a:rPr>
              <a:t>2/2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000" y="704740"/>
            <a:ext cx="8190000" cy="572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5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52343" y="2924944"/>
            <a:ext cx="480131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200" b="1" u="sng" dirty="0" smtClean="0"/>
              <a:t>경력기술서</a:t>
            </a:r>
            <a:endParaRPr lang="ko-KR" altLang="en-US" sz="7200" b="1" u="sng" dirty="0"/>
          </a:p>
        </p:txBody>
      </p:sp>
    </p:spTree>
    <p:extLst>
      <p:ext uri="{BB962C8B-B14F-4D97-AF65-F5344CB8AC3E}">
        <p14:creationId xmlns:p14="http://schemas.microsoft.com/office/powerpoint/2010/main" val="22101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1. 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지원 사유  </a:t>
            </a:r>
            <a:endParaRPr lang="ko-KR" altLang="en-US" sz="22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6616402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dirty="0" smtClean="0">
                <a:latin typeface="Arial Narrow" pitchFamily="34" charset="0"/>
                <a:ea typeface="LG스마트체 Regular" pitchFamily="50" charset="-127"/>
              </a:rPr>
              <a:t>1/5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02750" y="1083514"/>
            <a:ext cx="9700500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제가 </a:t>
            </a:r>
            <a:r>
              <a:rPr lang="ko-KR" altLang="en-US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한 </a:t>
            </a: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지능화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들을 </a:t>
            </a:r>
            <a:r>
              <a:rPr lang="ko-KR" altLang="en-US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지속 가능한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Application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으로 성장시키고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endParaRPr lang="en-US" altLang="ko-KR" sz="14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저의 </a:t>
            </a: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경험과 역량을 녹여내고자 ‘빅데이터사이언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TP’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에 지원했습니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4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그 동안 공정 장비 개발 및 장비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관리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&amp;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 관련 업무를 진행하며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고장 진단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예지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,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최적 제어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olution,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보정 등의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주도해왔습니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 과정에서 다양한 공정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경험하고 응용할 수 있다는 장점이 있었지만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비슷한 유형의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연이어 진행하는 경우가 드물기에 적용된 특정 지능화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지속적으로 발전시키기에는 한계가 있었습니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러한 한계를 극복할 방법을 늘 고민했고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해결방법은 해당분야에 더 깊숙이 파고드는 것 이었습니다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/>
            </a:r>
            <a:b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에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ML Framework 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및 운영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지능화과제 수행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ML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기술 기획 등의 업무는 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제가 쌓아왔던 역량을 발휘하여 고민을 해결하고</a:t>
            </a:r>
            <a:endParaRPr lang="en-US" altLang="ko-KR" sz="14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‘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빅데이터사이언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TP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’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와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LG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전자에 기여할 수 있는 기회라고 생각합니다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4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근 계속해서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X, AI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가 큰 화두이기에 제조 분야 내 다양한 지능화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 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적용되고 있습니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 솔루션들이 단기적으로 이목을 끌기 위한 용도로 사용되는 것이 아니라 필수 요소로 자리매김되고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LG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전자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X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가 제조업의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tate-of-the-art</a:t>
            </a:r>
            <a:r>
              <a:rPr lang="ko-KR" altLang="en-US" sz="1400">
                <a:latin typeface="Arial Narrow" panose="020B0606020202030204" pitchFamily="34" charset="0"/>
                <a:ea typeface="LG스마트체 Regular" panose="020B0600000101010101" pitchFamily="50" charset="-127"/>
              </a:rPr>
              <a:t>로 평가받는 목표를 함께 만들어 가고 싶습니다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4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990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2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lang="ko-KR" altLang="en-US" sz="22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핵심 보유 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역량</a:t>
            </a:r>
            <a:endParaRPr lang="ko-KR" altLang="en-US" sz="22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6616402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dirty="0" smtClean="0">
                <a:latin typeface="Arial Narrow" pitchFamily="34" charset="0"/>
                <a:ea typeface="LG스마트체 Regular" pitchFamily="50" charset="-127"/>
              </a:rPr>
              <a:t>2/5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5500" y="596454"/>
            <a:ext cx="412805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보유 역량</a:t>
            </a:r>
            <a:endParaRPr lang="en-US" altLang="ko-KR" sz="1200" b="1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Language : Python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상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R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중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Matlab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중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C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중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MFC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중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SQL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ML/AI Framework : Pytorch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상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, Tensorflow, Keras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중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PI : FastAPI, Django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ource Version Control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GIT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제조 설비 개발 프로젝트 진행 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07105" y="2513981"/>
            <a:ext cx="9495000" cy="390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역량 상세</a:t>
            </a:r>
            <a:endParaRPr lang="en-US" altLang="ko-KR" sz="1200" b="1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endParaRPr lang="en-US" altLang="ko-KR" sz="9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첫째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Python, R,  MATLAB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이용한 신호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(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소음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동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영상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처리 및 응용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(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광학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진공도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Motor/Robot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등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의 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전처리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및 상관관계 분석 등 업무를 진행해왔습니다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둘째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자가 진단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보정 등 설비 지능화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하기위해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L/AI Framework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용한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인공지능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odel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esign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하고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있으며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나아가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내 효율적으로 적용하기 위해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Backend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Rest API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한 경험이 있습니다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셋째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Data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 분야에 관심이 많았기에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년간 관련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논문 참고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및 교육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Data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과정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머신러닝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딥러닝 이론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&amp;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실습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이미지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자연어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시계열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), 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동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소음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처리기법 등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을 이수하며 꾸준히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신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rend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파악 하고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있습니다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러한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역량을 바탕으로 빠른 업무 습득력을 통해 팀 내 업무 효율을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높이겠습니다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또한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제조 설비 개발 현장 경험을 바탕으로 현장의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Needs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와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Issue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고려하여 엔지니어링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효과적으로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응용할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수 있으며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보정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이상 감지 등 제조분야에 특화된 지능화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에 큰 도움이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되겠습니다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4710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3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lang="ko-KR" altLang="en-US" sz="220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경력사항 </a:t>
            </a:r>
            <a:r>
              <a:rPr lang="ko-KR" altLang="en-US" sz="220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상세</a:t>
            </a:r>
            <a:endParaRPr lang="ko-KR" altLang="en-US" sz="2200" dirty="0">
              <a:solidFill>
                <a:schemeClr val="bg1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6624640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dirty="0" smtClean="0">
                <a:latin typeface="Arial Narrow" pitchFamily="34" charset="0"/>
                <a:ea typeface="LG스마트체 Regular" pitchFamily="50" charset="-127"/>
              </a:rPr>
              <a:t>3/5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3000" y="5056033"/>
            <a:ext cx="89114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머신러닝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 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Hexapod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 위치 </a:t>
            </a:r>
            <a:r>
              <a:rPr lang="ko-KR" altLang="en-US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제어</a:t>
            </a:r>
            <a:endParaRPr lang="en-US" altLang="ko-KR" sz="1200" b="1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Hexapod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 정밀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lign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의 최적 위치 탐색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Model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</a:t>
            </a:r>
            <a:endParaRPr lang="ko-KR" altLang="en-US" sz="12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화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알고리즘 적용을 위한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ML/AI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목적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함수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정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영향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X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인자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&gt;&gt; Y,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예측 모델 학습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ACC 99%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이상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)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확정된 목적함수를 이용한 극한값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earching Algorithm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계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Hill-Climbing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응용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Y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가 극한이 되는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X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인자의 최적화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cess)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ML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최적화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Model Service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위한 설비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Backend Rest API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구축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Fast API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903000" y="684000"/>
            <a:ext cx="40064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대면적 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OLED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고진공 물류 설비 운영 최적화 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equence Data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한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Tact Time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단축</a:t>
            </a:r>
            <a:endParaRPr lang="en-US" altLang="ko-KR" sz="12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3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축 가속도 센서를 이용한 물류 불안정 원인 분석 및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해결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공도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활용한 장비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Pump </a:t>
            </a:r>
            <a:r>
              <a:rPr lang="ko-KR" altLang="en-US" sz="1200">
                <a:latin typeface="Arial Narrow" panose="020B0606020202030204" pitchFamily="34" charset="0"/>
                <a:ea typeface="LG스마트체 Regular" panose="020B0600000101010101" pitchFamily="50" charset="-127"/>
              </a:rPr>
              <a:t>개수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최적화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907800" y="2041672"/>
            <a:ext cx="639142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동 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물류 설비 베벨기어 고장 진단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예지 </a:t>
            </a: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</a:t>
            </a: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</a:p>
          <a:p>
            <a:pPr>
              <a:lnSpc>
                <a:spcPct val="150000"/>
              </a:lnSpc>
            </a:pP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축 가속도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ensor(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동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)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를 활용 설비 고장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베벨기어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Backlash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정도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단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예지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</a:t>
            </a: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실시간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수집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처리기 개발 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with NI DAQ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동 특성 분석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FFT) 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및 특징 인자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(19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가지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추출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ML/AI Model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적용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및 개선 진행 중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3000" y="3713671"/>
            <a:ext cx="48406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R/AF Load-Lock </a:t>
            </a:r>
            <a:r>
              <a:rPr lang="ko-KR" altLang="en-US" sz="1200" b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개발 </a:t>
            </a: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</a:p>
          <a:p>
            <a:pPr>
              <a:lnSpc>
                <a:spcPct val="150000"/>
              </a:lnSpc>
            </a:pPr>
            <a:r>
              <a:rPr lang="en-US" altLang="ko-KR" sz="1200" b="1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운영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equence, Interlock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검토 및 반영</a:t>
            </a:r>
            <a:endParaRPr lang="ko-KR" altLang="en-US" sz="1200" b="1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활용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운영 최적화 및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act Time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단축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Sequence,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부하율 등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설비 고장</a:t>
            </a: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단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/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예지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어 마모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확대 전개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5989054" y="3713671"/>
            <a:ext cx="3015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R/AF Sputter </a:t>
            </a:r>
            <a:r>
              <a:rPr lang="ko-KR" altLang="en-US" sz="1200" b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지능화 </a:t>
            </a:r>
            <a:r>
              <a:rPr lang="en-US" altLang="ko-KR" sz="12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roject</a:t>
            </a:r>
            <a:endParaRPr lang="en-US" altLang="ko-KR" sz="1200" b="1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-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 자동 보정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ystem 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발 중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ML</a:t>
            </a:r>
            <a:r>
              <a:rPr lang="ko-KR" altLang="en-US" sz="12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반 광학상수 미세 조정 기능 구현</a:t>
            </a:r>
            <a:endParaRPr lang="en-US" altLang="ko-KR" sz="12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83000" y="737248"/>
            <a:ext cx="315000" cy="12003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1</a:t>
            </a:r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차</a:t>
            </a:r>
            <a:endParaRPr lang="ko-KR" altLang="en-US" sz="140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174667" y="2084510"/>
            <a:ext cx="315000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2</a:t>
            </a:r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차</a:t>
            </a:r>
            <a:endParaRPr lang="ko-KR" altLang="en-US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74667" y="3708771"/>
            <a:ext cx="315000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3</a:t>
            </a:r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차</a:t>
            </a:r>
            <a:endParaRPr lang="ko-KR" altLang="en-US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174667" y="5056033"/>
            <a:ext cx="315000" cy="15229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4</a:t>
            </a:r>
          </a:p>
          <a:p>
            <a:pPr algn="ctr"/>
            <a:r>
              <a:rPr lang="ko-KR" altLang="en-US" sz="14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년</a:t>
            </a:r>
            <a:endParaRPr lang="en-US" altLang="ko-KR" sz="1400" dirty="0" smtClean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40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차</a:t>
            </a:r>
            <a:endParaRPr lang="ko-KR" altLang="en-US" sz="14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" name="직선 화살표 연결선 5"/>
          <p:cNvCxnSpPr/>
          <p:nvPr/>
        </p:nvCxnSpPr>
        <p:spPr>
          <a:xfrm>
            <a:off x="588000" y="737247"/>
            <a:ext cx="0" cy="2106753"/>
          </a:xfrm>
          <a:prstGeom prst="straightConnector1">
            <a:avLst/>
          </a:prstGeom>
          <a:ln w="12700">
            <a:solidFill>
              <a:schemeClr val="bg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/>
          <p:cNvCxnSpPr/>
          <p:nvPr/>
        </p:nvCxnSpPr>
        <p:spPr>
          <a:xfrm>
            <a:off x="678000" y="2041672"/>
            <a:ext cx="0" cy="4531523"/>
          </a:xfrm>
          <a:prstGeom prst="straightConnector1">
            <a:avLst/>
          </a:prstGeom>
          <a:ln w="1270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/>
          <p:cNvCxnSpPr/>
          <p:nvPr/>
        </p:nvCxnSpPr>
        <p:spPr>
          <a:xfrm>
            <a:off x="768000" y="3708771"/>
            <a:ext cx="0" cy="2909424"/>
          </a:xfrm>
          <a:prstGeom prst="straightConnector1">
            <a:avLst/>
          </a:prstGeom>
          <a:ln w="12700">
            <a:solidFill>
              <a:schemeClr val="accent3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화살표 연결선 21"/>
          <p:cNvCxnSpPr/>
          <p:nvPr/>
        </p:nvCxnSpPr>
        <p:spPr>
          <a:xfrm>
            <a:off x="858000" y="5101033"/>
            <a:ext cx="0" cy="1522967"/>
          </a:xfrm>
          <a:prstGeom prst="straightConnector1">
            <a:avLst/>
          </a:prstGeom>
          <a:ln w="12700">
            <a:solidFill>
              <a:schemeClr val="accent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직사각형 40"/>
          <p:cNvSpPr/>
          <p:nvPr/>
        </p:nvSpPr>
        <p:spPr>
          <a:xfrm>
            <a:off x="5988000" y="1044000"/>
            <a:ext cx="3529378" cy="707886"/>
          </a:xfrm>
          <a:prstGeom prst="rect">
            <a:avLst/>
          </a:prstGeom>
          <a:ln w="9525">
            <a:solidFill>
              <a:schemeClr val="tx1"/>
            </a:solidFill>
            <a:prstDash val="solid"/>
          </a:ln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ko-KR" altLang="en-US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기타 과제</a:t>
            </a: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(1~4 </a:t>
            </a:r>
            <a:r>
              <a:rPr lang="ko-KR" altLang="en-US" sz="1000" b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년차</a:t>
            </a: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, Data </a:t>
            </a:r>
            <a:r>
              <a:rPr lang="ko-KR" altLang="en-US" sz="1000" b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분석용 </a:t>
            </a: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Support Tool </a:t>
            </a:r>
            <a:r>
              <a:rPr lang="ko-KR" altLang="en-US" sz="1000" b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배포</a:t>
            </a:r>
            <a:r>
              <a:rPr lang="en-US" altLang="ko-KR" sz="1000" b="1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)</a:t>
            </a:r>
          </a:p>
          <a:p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- AR/AF Sputter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공정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Simulation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진행 및 결과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비교 분석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ool  </a:t>
            </a:r>
            <a:endParaRPr lang="en-US" altLang="ko-KR" sz="10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Lens Aligner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정밀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Align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결과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ata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시각화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ool</a:t>
            </a:r>
            <a:endParaRPr lang="ko-KR" altLang="en-US" sz="1000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r>
              <a:rPr lang="en-US" altLang="ko-KR" sz="10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       -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DXF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도면 파일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CSV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변환 및 특정 제어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Position </a:t>
            </a:r>
            <a:r>
              <a:rPr lang="ko-KR" altLang="en-US" sz="10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도출 </a:t>
            </a:r>
            <a:r>
              <a:rPr lang="en-US" altLang="ko-KR" sz="10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Tool </a:t>
            </a:r>
          </a:p>
        </p:txBody>
      </p:sp>
      <p:cxnSp>
        <p:nvCxnSpPr>
          <p:cNvPr id="23" name="직선 연결선 22"/>
          <p:cNvCxnSpPr/>
          <p:nvPr/>
        </p:nvCxnSpPr>
        <p:spPr>
          <a:xfrm>
            <a:off x="174667" y="1950393"/>
            <a:ext cx="9413333" cy="0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연결선 31"/>
          <p:cNvCxnSpPr/>
          <p:nvPr/>
        </p:nvCxnSpPr>
        <p:spPr>
          <a:xfrm>
            <a:off x="174667" y="3654000"/>
            <a:ext cx="9413333" cy="0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>
          <a:xfrm>
            <a:off x="174667" y="5004000"/>
            <a:ext cx="9413333" cy="0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6038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4"/>
          <p:cNvSpPr txBox="1">
            <a:spLocks noChangeArrowheads="1"/>
          </p:cNvSpPr>
          <p:nvPr/>
        </p:nvSpPr>
        <p:spPr bwMode="auto">
          <a:xfrm>
            <a:off x="0" y="74627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4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lang="ko-KR" altLang="en-US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지원자 강점</a:t>
            </a:r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/</a:t>
            </a:r>
            <a:r>
              <a:rPr lang="ko-KR" altLang="en-US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보완점</a:t>
            </a:r>
          </a:p>
        </p:txBody>
      </p:sp>
      <p:sp>
        <p:nvSpPr>
          <p:cNvPr id="11" name="Text Box 144"/>
          <p:cNvSpPr txBox="1">
            <a:spLocks noChangeArrowheads="1"/>
          </p:cNvSpPr>
          <p:nvPr/>
        </p:nvSpPr>
        <p:spPr bwMode="auto">
          <a:xfrm>
            <a:off x="0" y="4365104"/>
            <a:ext cx="9906000" cy="438569"/>
          </a:xfrm>
          <a:prstGeom prst="rect">
            <a:avLst/>
          </a:prstGeom>
          <a:solidFill>
            <a:srgbClr val="C5003E"/>
          </a:solidFill>
          <a:ln>
            <a:noFill/>
          </a:ln>
          <a:extLst/>
        </p:spPr>
        <p:txBody>
          <a:bodyPr wrap="square" lIns="99048" tIns="49524" rIns="99048" bIns="49524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eaLnBrk="1" hangingPunct="1"/>
            <a:r>
              <a:rPr lang="en-US" altLang="ko-KR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5</a:t>
            </a:r>
            <a:r>
              <a:rPr lang="en-US" altLang="ko-KR" sz="2200" dirty="0" smtClean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. </a:t>
            </a:r>
            <a:r>
              <a:rPr lang="ko-KR" altLang="en-US" sz="2200" dirty="0">
                <a:solidFill>
                  <a:schemeClr val="bg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참고사항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6616402"/>
            <a:ext cx="9906000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975" dirty="0">
                <a:latin typeface="Arial Narrow" pitchFamily="34" charset="0"/>
                <a:ea typeface="LG스마트체 Regular" pitchFamily="50" charset="-127"/>
              </a:rPr>
              <a:t>5</a:t>
            </a:r>
            <a:r>
              <a:rPr lang="en-US" altLang="ko-KR" sz="975" dirty="0" smtClean="0">
                <a:latin typeface="Arial Narrow" pitchFamily="34" charset="0"/>
                <a:ea typeface="LG스마트체 Regular" pitchFamily="50" charset="-127"/>
              </a:rPr>
              <a:t>/5</a:t>
            </a:r>
            <a:endParaRPr lang="ko-KR" altLang="en-US" sz="975">
              <a:latin typeface="Arial Narrow" pitchFamily="34" charset="0"/>
              <a:ea typeface="LG스마트체 Regular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000" y="802431"/>
            <a:ext cx="8865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2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강점</a:t>
            </a:r>
            <a:r>
              <a:rPr lang="en-US" altLang="ko-KR" sz="12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</a:p>
          <a:p>
            <a:pPr>
              <a:lnSpc>
                <a:spcPct val="200000"/>
              </a:lnSpc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빠른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무 습득 능력과 세세한 업무 처리 능력이 장점입니다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endParaRPr lang="en-US" altLang="ko-KR" sz="1200" dirty="0" smtClean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또한 관심있는 분야를 끝까지 파고들어서 완벽히 내 것으로 만들어내는 의지와 욕심이 장점입니다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r>
              <a:rPr lang="ko-KR" altLang="en-US" sz="12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en-US" altLang="ko-KR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누구에게나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편안한 기분을 심어주는 대인관계가 강점입니다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pPr>
              <a:lnSpc>
                <a:spcPct val="200000"/>
              </a:lnSpc>
            </a:pPr>
            <a:endParaRPr lang="en-US" altLang="ko-KR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2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보완점</a:t>
            </a:r>
            <a:r>
              <a:rPr lang="en-US" altLang="ko-KR" sz="1200" b="1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</a:p>
          <a:p>
            <a:pPr>
              <a:lnSpc>
                <a:spcPct val="200000"/>
              </a:lnSpc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인의 의견을 수용하는 폭이 넓어 의사 결정 시 효율적이지 못할 때도 있지만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</a:p>
          <a:p>
            <a:pPr>
              <a:lnSpc>
                <a:spcPct val="200000"/>
              </a:lnSpc>
            </a:pPr>
            <a:r>
              <a:rPr lang="ko-KR" altLang="en-US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무적인 부분에서는 우선순위를 고려하여 결정하는 습관을 들이고 있습니다</a:t>
            </a:r>
            <a:r>
              <a:rPr lang="en-US" altLang="ko-KR" sz="12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000" y="5094000"/>
            <a:ext cx="8865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사내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GIT 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주소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: http://mod.lge.com/hub/hyunchan.moon/my_source</a:t>
            </a:r>
            <a:endParaRPr lang="en-US" altLang="ko-KR" sz="1400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개인 운영 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Blog </a:t>
            </a:r>
            <a:r>
              <a:rPr lang="ko-KR" altLang="en-US" sz="140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주소</a:t>
            </a:r>
            <a:r>
              <a:rPr lang="en-US" altLang="ko-KR" sz="1400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: </a:t>
            </a:r>
            <a:r>
              <a:rPr lang="en-US" altLang="ko-KR" sz="1400" dirty="0">
                <a:latin typeface="Arial Narrow" panose="020B0606020202030204" pitchFamily="34" charset="0"/>
                <a:ea typeface="LG스마트체 Regular" panose="020B0600000101010101" pitchFamily="50" charset="-127"/>
              </a:rPr>
              <a:t>https://technical-support.tistory.com/</a:t>
            </a:r>
          </a:p>
        </p:txBody>
      </p:sp>
    </p:spTree>
    <p:extLst>
      <p:ext uri="{BB962C8B-B14F-4D97-AF65-F5344CB8AC3E}">
        <p14:creationId xmlns:p14="http://schemas.microsoft.com/office/powerpoint/2010/main" val="235900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11756" y="1224674"/>
            <a:ext cx="62824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800" b="1" u="sng" dirty="0" smtClean="0"/>
              <a:t>경력기술서 </a:t>
            </a:r>
            <a:r>
              <a:rPr lang="en-US" altLang="ko-KR" sz="4800" b="1" u="sng" dirty="0" smtClean="0"/>
              <a:t>Appendix</a:t>
            </a:r>
            <a:endParaRPr lang="ko-KR" altLang="en-US" sz="4800" b="1" u="sng" dirty="0"/>
          </a:p>
        </p:txBody>
      </p:sp>
      <p:sp>
        <p:nvSpPr>
          <p:cNvPr id="3" name="TextBox 2"/>
          <p:cNvSpPr txBox="1"/>
          <p:nvPr/>
        </p:nvSpPr>
        <p:spPr>
          <a:xfrm>
            <a:off x="2118000" y="2934000"/>
            <a:ext cx="6577442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ko-KR" altLang="en-US" dirty="0" err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ko-KR" altLang="en-US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1. </a:t>
            </a:r>
            <a:r>
              <a:rPr lang="ko-KR" altLang="en-US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설비 반송 구동부 고장 진단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System</a:t>
            </a:r>
            <a:endParaRPr lang="en-US" altLang="ko-KR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dirty="0" err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ko-KR" altLang="en-US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2.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ML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활용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Hexapod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최적 제어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osition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도출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Project</a:t>
            </a:r>
            <a:endParaRPr lang="en-US" altLang="ko-KR" dirty="0" smtClean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  <a:p>
            <a:pPr>
              <a:lnSpc>
                <a:spcPct val="200000"/>
              </a:lnSpc>
            </a:pPr>
            <a:r>
              <a:rPr lang="ko-KR" altLang="en-US" dirty="0" err="1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유첨</a:t>
            </a:r>
            <a:r>
              <a:rPr lang="ko-KR" altLang="en-US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 </a:t>
            </a:r>
            <a:r>
              <a:rPr lang="en-US" altLang="ko-KR" dirty="0" smtClean="0">
                <a:latin typeface="Arial Narrow" panose="020B0606020202030204" pitchFamily="34" charset="0"/>
                <a:ea typeface="LG스마트체 Regular" panose="020B0600000101010101" pitchFamily="50" charset="-127"/>
              </a:rPr>
              <a:t>3. 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rPr>
              <a:t>OLED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물류 설비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 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전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후 흔들림 양에 따른 상</a:t>
            </a:r>
            <a:r>
              <a:rPr lang="en-US" altLang="ko-KR" dirty="0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/</a:t>
            </a:r>
            <a:r>
              <a:rPr lang="ko-KR" altLang="en-US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하 떨림 량 비교 </a:t>
            </a:r>
            <a:r>
              <a:rPr lang="ko-KR" altLang="en-US" smtClean="0">
                <a:latin typeface="Arial Narrow" panose="020B0606020202030204" pitchFamily="34" charset="0"/>
                <a:ea typeface="LG스마트체 Regular" panose="020B0600000101010101" pitchFamily="50" charset="-127"/>
                <a:cs typeface="Arial Unicode MS" pitchFamily="50" charset="-127"/>
              </a:rPr>
              <a:t>분석</a:t>
            </a:r>
            <a:endParaRPr lang="en-US" altLang="ko-KR" dirty="0"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15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yhmkIskSSW3VQ7Unx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yhmkIskSSW3VQ7Unx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GyhmkIskSSW3VQ7Unxz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44</TotalTime>
  <Words>2527</Words>
  <Application>Microsoft Office PowerPoint</Application>
  <PresentationFormat>A4 용지(210x297mm)</PresentationFormat>
  <Paragraphs>485</Paragraphs>
  <Slides>21</Slides>
  <Notes>13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34" baseType="lpstr">
      <vt:lpstr>Arial Unicode MS</vt:lpstr>
      <vt:lpstr>LG스마트체 Regular</vt:lpstr>
      <vt:lpstr>LG스마트체2.0 Bold</vt:lpstr>
      <vt:lpstr>LG스마트체2.0 Regular</vt:lpstr>
      <vt:lpstr>돋움</vt:lpstr>
      <vt:lpstr>맑은 고딕</vt:lpstr>
      <vt:lpstr>바탕</vt:lpstr>
      <vt:lpstr>Arial</vt:lpstr>
      <vt:lpstr>Arial Narrow</vt:lpstr>
      <vt:lpstr>Trebuchet MS</vt:lpstr>
      <vt:lpstr>Wingdings</vt:lpstr>
      <vt:lpstr>Wingdings 2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jaehwa.yu</dc:creator>
  <cp:lastModifiedBy>문현찬/연구원/PRI 정밀시스템기술팀(hyunchan.moon@lge.com)</cp:lastModifiedBy>
  <cp:revision>363</cp:revision>
  <dcterms:created xsi:type="dcterms:W3CDTF">2021-03-23T07:22:53Z</dcterms:created>
  <dcterms:modified xsi:type="dcterms:W3CDTF">2021-12-26T07:35:01Z</dcterms:modified>
</cp:coreProperties>
</file>